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2.xml" ContentType="application/vnd.openxmlformats-officedocument.theme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theme/theme3.xml" ContentType="application/vnd.openxmlformats-officedocument.theme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theme/theme4.xml" ContentType="application/vnd.openxmlformats-officedocument.theme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theme/theme5.xml" ContentType="application/vnd.openxmlformats-officedocument.theme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theme/theme6.xml" ContentType="application/vnd.openxmlformats-officedocument.theme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921" r:id="rId2"/>
    <p:sldMasterId id="2147484071" r:id="rId3"/>
    <p:sldMasterId id="2147484578" r:id="rId4"/>
    <p:sldMasterId id="2147484595" r:id="rId5"/>
    <p:sldMasterId id="2147484830" r:id="rId6"/>
    <p:sldMasterId id="2147484843" r:id="rId7"/>
  </p:sldMasterIdLst>
  <p:notesMasterIdLst>
    <p:notesMasterId r:id="rId77"/>
  </p:notesMasterIdLst>
  <p:sldIdLst>
    <p:sldId id="256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268" r:id="rId20"/>
    <p:sldId id="269" r:id="rId21"/>
    <p:sldId id="270" r:id="rId22"/>
    <p:sldId id="1033" r:id="rId23"/>
    <p:sldId id="271" r:id="rId24"/>
    <p:sldId id="272" r:id="rId25"/>
    <p:sldId id="273" r:id="rId26"/>
    <p:sldId id="274" r:id="rId27"/>
    <p:sldId id="747" r:id="rId28"/>
    <p:sldId id="275" r:id="rId29"/>
    <p:sldId id="276" r:id="rId30"/>
    <p:sldId id="277" r:id="rId31"/>
    <p:sldId id="278" r:id="rId32"/>
    <p:sldId id="280" r:id="rId33"/>
    <p:sldId id="281" r:id="rId34"/>
    <p:sldId id="282" r:id="rId35"/>
    <p:sldId id="283" r:id="rId36"/>
    <p:sldId id="284" r:id="rId37"/>
    <p:sldId id="285" r:id="rId38"/>
    <p:sldId id="286" r:id="rId39"/>
    <p:sldId id="287" r:id="rId40"/>
    <p:sldId id="288" r:id="rId41"/>
    <p:sldId id="289" r:id="rId42"/>
    <p:sldId id="290" r:id="rId43"/>
    <p:sldId id="291" r:id="rId44"/>
    <p:sldId id="292" r:id="rId45"/>
    <p:sldId id="293" r:id="rId46"/>
    <p:sldId id="294" r:id="rId47"/>
    <p:sldId id="295" r:id="rId48"/>
    <p:sldId id="296" r:id="rId49"/>
    <p:sldId id="297" r:id="rId50"/>
    <p:sldId id="298" r:id="rId51"/>
    <p:sldId id="299" r:id="rId52"/>
    <p:sldId id="300" r:id="rId53"/>
    <p:sldId id="301" r:id="rId54"/>
    <p:sldId id="302" r:id="rId55"/>
    <p:sldId id="303" r:id="rId56"/>
    <p:sldId id="304" r:id="rId57"/>
    <p:sldId id="305" r:id="rId58"/>
    <p:sldId id="306" r:id="rId59"/>
    <p:sldId id="307" r:id="rId60"/>
    <p:sldId id="308" r:id="rId61"/>
    <p:sldId id="309" r:id="rId62"/>
    <p:sldId id="310" r:id="rId63"/>
    <p:sldId id="317" r:id="rId64"/>
    <p:sldId id="318" r:id="rId65"/>
    <p:sldId id="319" r:id="rId66"/>
    <p:sldId id="320" r:id="rId67"/>
    <p:sldId id="321" r:id="rId68"/>
    <p:sldId id="1032" r:id="rId69"/>
    <p:sldId id="322" r:id="rId70"/>
    <p:sldId id="323" r:id="rId71"/>
    <p:sldId id="311" r:id="rId72"/>
    <p:sldId id="313" r:id="rId73"/>
    <p:sldId id="314" r:id="rId74"/>
    <p:sldId id="315" r:id="rId75"/>
    <p:sldId id="316" r:id="rId76"/>
  </p:sldIdLst>
  <p:sldSz cx="12192000" cy="6858000"/>
  <p:notesSz cx="6858000" cy="9144000"/>
  <p:embeddedFontLst>
    <p:embeddedFont>
      <p:font typeface="Barlow" panose="00000500000000000000" pitchFamily="2" charset="0"/>
      <p:regular r:id="rId78"/>
      <p:bold r:id="rId79"/>
      <p:italic r:id="rId80"/>
      <p:boldItalic r:id="rId81"/>
    </p:embeddedFont>
    <p:embeddedFont>
      <p:font typeface="Barlow Medium" panose="00000600000000000000" pitchFamily="2" charset="0"/>
      <p:regular r:id="rId82"/>
      <p:bold r:id="rId83"/>
      <p:italic r:id="rId84"/>
      <p:boldItalic r:id="rId85"/>
    </p:embeddedFont>
    <p:embeddedFont>
      <p:font typeface="Barlow SemiBold" panose="00000700000000000000" pitchFamily="2" charset="0"/>
      <p:regular r:id="rId86"/>
      <p:bold r:id="rId87"/>
      <p:italic r:id="rId88"/>
      <p:boldItalic r:id="rId89"/>
    </p:embeddedFont>
    <p:embeddedFont>
      <p:font typeface="Franklin Gothic Book" panose="020B0503020102020204" pitchFamily="34" charset="0"/>
      <p:regular r:id="rId90"/>
      <p:italic r:id="rId91"/>
    </p:embeddedFont>
    <p:embeddedFont>
      <p:font typeface="Helvetica Neue" panose="020B0604020202020204" charset="0"/>
      <p:regular r:id="rId92"/>
      <p:bold r:id="rId93"/>
      <p:italic r:id="rId94"/>
      <p:boldItalic r:id="rId95"/>
    </p:embeddedFont>
    <p:embeddedFont>
      <p:font typeface="Libre Franklin" pitchFamily="2" charset="0"/>
      <p:regular r:id="rId96"/>
      <p:bold r:id="rId97"/>
      <p:italic r:id="rId98"/>
      <p:boldItalic r:id="rId99"/>
    </p:embeddedFont>
    <p:embeddedFont>
      <p:font typeface="Open Sans" panose="020B0606030504020204" pitchFamily="34" charset="0"/>
      <p:regular r:id="rId100"/>
      <p:bold r:id="rId101"/>
      <p:italic r:id="rId102"/>
      <p:boldItalic r:id="rId10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05" roundtripDataSignature="AMtx7mj2bU3F9M/eAtc9o35hraHKA9qbx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84F5FD-E973-A5D5-9755-CFCD1FDEFAA8}" v="119" dt="2023-12-11T15:07:22.264"/>
  </p1510:revLst>
</p1510:revInfo>
</file>

<file path=ppt/tableStyles.xml><?xml version="1.0" encoding="utf-8"?>
<a:tblStyleLst xmlns:a="http://schemas.openxmlformats.org/drawingml/2006/main" def="{54556ADF-2B93-452C-9A2B-54F70BC1554F}">
  <a:tblStyle styleId="{54556ADF-2B93-452C-9A2B-54F70BC1554F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/>
      <a:tcStyle>
        <a:tcBdr/>
        <a:fill>
          <a:solidFill>
            <a:srgbClr val="CBCED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CED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C3910E3-FE60-403B-803A-D4D95C852511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 b="off" i="off"/>
      <a:tcStyle>
        <a:tcBdr/>
        <a:fill>
          <a:solidFill>
            <a:srgbClr val="CBCEDA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BCEDA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907AF9B1-F0F0-4187-A23C-68A95F3377F3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DECEA"/>
          </a:solidFill>
        </a:fill>
      </a:tcStyle>
    </a:wholeTbl>
    <a:band1H>
      <a:tcTxStyle b="off" i="off"/>
      <a:tcStyle>
        <a:tcBdr/>
        <a:fill>
          <a:solidFill>
            <a:srgbClr val="FBD8D2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FBD8D2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84" Type="http://schemas.openxmlformats.org/officeDocument/2006/relationships/font" Target="fonts/font7.fntdata"/><Relationship Id="rId89" Type="http://schemas.openxmlformats.org/officeDocument/2006/relationships/font" Target="fonts/font12.fntdata"/><Relationship Id="rId16" Type="http://schemas.openxmlformats.org/officeDocument/2006/relationships/slide" Target="slides/slide9.xml"/><Relationship Id="rId107" Type="http://schemas.openxmlformats.org/officeDocument/2006/relationships/viewProps" Target="viewProps.xml"/><Relationship Id="rId11" Type="http://schemas.openxmlformats.org/officeDocument/2006/relationships/slide" Target="slides/slide4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74" Type="http://schemas.openxmlformats.org/officeDocument/2006/relationships/slide" Target="slides/slide67.xml"/><Relationship Id="rId79" Type="http://schemas.openxmlformats.org/officeDocument/2006/relationships/font" Target="fonts/font2.fntdata"/><Relationship Id="rId102" Type="http://schemas.openxmlformats.org/officeDocument/2006/relationships/font" Target="fonts/font25.fntdata"/><Relationship Id="rId5" Type="http://schemas.openxmlformats.org/officeDocument/2006/relationships/slideMaster" Target="slideMasters/slideMaster5.xml"/><Relationship Id="rId90" Type="http://schemas.openxmlformats.org/officeDocument/2006/relationships/font" Target="fonts/font13.fntdata"/><Relationship Id="rId95" Type="http://schemas.openxmlformats.org/officeDocument/2006/relationships/font" Target="fonts/font18.fntdata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80" Type="http://schemas.openxmlformats.org/officeDocument/2006/relationships/font" Target="fonts/font3.fntdata"/><Relationship Id="rId85" Type="http://schemas.openxmlformats.org/officeDocument/2006/relationships/font" Target="fonts/font8.fntdata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59" Type="http://schemas.openxmlformats.org/officeDocument/2006/relationships/slide" Target="slides/slide52.xml"/><Relationship Id="rId103" Type="http://schemas.openxmlformats.org/officeDocument/2006/relationships/font" Target="fonts/font26.fntdata"/><Relationship Id="rId108" Type="http://schemas.openxmlformats.org/officeDocument/2006/relationships/theme" Target="theme/theme1.xml"/><Relationship Id="rId54" Type="http://schemas.openxmlformats.org/officeDocument/2006/relationships/slide" Target="slides/slide47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91" Type="http://schemas.openxmlformats.org/officeDocument/2006/relationships/font" Target="fonts/font14.fntdata"/><Relationship Id="rId96" Type="http://schemas.openxmlformats.org/officeDocument/2006/relationships/font" Target="fonts/font19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6" Type="http://schemas.openxmlformats.org/officeDocument/2006/relationships/presProps" Target="presProp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font" Target="fonts/font1.fntdata"/><Relationship Id="rId81" Type="http://schemas.openxmlformats.org/officeDocument/2006/relationships/font" Target="fonts/font4.fntdata"/><Relationship Id="rId86" Type="http://schemas.openxmlformats.org/officeDocument/2006/relationships/font" Target="fonts/font9.fntdata"/><Relationship Id="rId94" Type="http://schemas.openxmlformats.org/officeDocument/2006/relationships/font" Target="fonts/font17.fntdata"/><Relationship Id="rId99" Type="http://schemas.openxmlformats.org/officeDocument/2006/relationships/font" Target="fonts/font22.fntdata"/><Relationship Id="rId101" Type="http://schemas.openxmlformats.org/officeDocument/2006/relationships/font" Target="fonts/font24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109" Type="http://schemas.openxmlformats.org/officeDocument/2006/relationships/tableStyles" Target="tableStyles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slide" Target="slides/slide69.xml"/><Relationship Id="rId97" Type="http://schemas.openxmlformats.org/officeDocument/2006/relationships/font" Target="fonts/font20.fntdata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92" Type="http://schemas.openxmlformats.org/officeDocument/2006/relationships/font" Target="fonts/font15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Relationship Id="rId24" Type="http://schemas.openxmlformats.org/officeDocument/2006/relationships/slide" Target="slides/slide17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66" Type="http://schemas.openxmlformats.org/officeDocument/2006/relationships/slide" Target="slides/slide59.xml"/><Relationship Id="rId87" Type="http://schemas.openxmlformats.org/officeDocument/2006/relationships/font" Target="fonts/font10.fntdata"/><Relationship Id="rId110" Type="http://schemas.microsoft.com/office/2015/10/relationships/revisionInfo" Target="revisionInfo.xml"/><Relationship Id="rId61" Type="http://schemas.openxmlformats.org/officeDocument/2006/relationships/slide" Target="slides/slide54.xml"/><Relationship Id="rId82" Type="http://schemas.openxmlformats.org/officeDocument/2006/relationships/font" Target="fonts/font5.fntdata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56" Type="http://schemas.openxmlformats.org/officeDocument/2006/relationships/slide" Target="slides/slide49.xml"/><Relationship Id="rId77" Type="http://schemas.openxmlformats.org/officeDocument/2006/relationships/notesMaster" Target="notesMasters/notesMaster1.xml"/><Relationship Id="rId100" Type="http://schemas.openxmlformats.org/officeDocument/2006/relationships/font" Target="fonts/font23.fntdata"/><Relationship Id="rId105" Type="http://customschemas.google.com/relationships/presentationmetadata" Target="metadata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93" Type="http://schemas.openxmlformats.org/officeDocument/2006/relationships/font" Target="fonts/font16.fntdata"/><Relationship Id="rId98" Type="http://schemas.openxmlformats.org/officeDocument/2006/relationships/font" Target="fonts/font21.fntdata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8.xml"/><Relationship Id="rId46" Type="http://schemas.openxmlformats.org/officeDocument/2006/relationships/slide" Target="slides/slide39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62" Type="http://schemas.openxmlformats.org/officeDocument/2006/relationships/slide" Target="slides/slide55.xml"/><Relationship Id="rId83" Type="http://schemas.openxmlformats.org/officeDocument/2006/relationships/font" Target="fonts/font6.fntdata"/><Relationship Id="rId88" Type="http://schemas.openxmlformats.org/officeDocument/2006/relationships/font" Target="fonts/font11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4</c:f>
              <c:strCache>
                <c:ptCount val="1"/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C$4:$F$4</c:f>
              <c:numCache>
                <c:formatCode>General</c:formatCode>
                <c:ptCount val="4"/>
                <c:pt idx="0">
                  <c:v>80</c:v>
                </c:pt>
                <c:pt idx="1">
                  <c:v>71</c:v>
                </c:pt>
                <c:pt idx="2">
                  <c:v>47</c:v>
                </c:pt>
                <c:pt idx="3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B11-F94C-A56D-BC831586978C}"/>
            </c:ext>
          </c:extLst>
        </c:ser>
        <c:ser>
          <c:idx val="1"/>
          <c:order val="1"/>
          <c:tx>
            <c:strRef>
              <c:f>Sheet1!$B$5</c:f>
              <c:strCache>
                <c:ptCount val="1"/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2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C$5:$F$5</c:f>
              <c:numCache>
                <c:formatCode>General</c:formatCode>
                <c:ptCount val="4"/>
                <c:pt idx="0">
                  <c:v>32</c:v>
                </c:pt>
                <c:pt idx="1">
                  <c:v>32</c:v>
                </c:pt>
                <c:pt idx="2">
                  <c:v>13</c:v>
                </c:pt>
                <c:pt idx="3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B11-F94C-A56D-BC831586978C}"/>
            </c:ext>
          </c:extLst>
        </c:ser>
        <c:ser>
          <c:idx val="2"/>
          <c:order val="2"/>
          <c:tx>
            <c:strRef>
              <c:f>Sheet1!$B$6</c:f>
              <c:strCache>
                <c:ptCount val="1"/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C$6:$F$6</c:f>
              <c:numCache>
                <c:formatCode>General</c:formatCode>
                <c:ptCount val="4"/>
                <c:pt idx="0">
                  <c:v>39</c:v>
                </c:pt>
                <c:pt idx="1">
                  <c:v>38</c:v>
                </c:pt>
                <c:pt idx="2">
                  <c:v>34</c:v>
                </c:pt>
                <c:pt idx="3">
                  <c:v>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B11-F94C-A56D-BC831586978C}"/>
            </c:ext>
          </c:extLst>
        </c:ser>
        <c:ser>
          <c:idx val="3"/>
          <c:order val="3"/>
          <c:tx>
            <c:strRef>
              <c:f>Sheet1!$B$7</c:f>
              <c:strCache>
                <c:ptCount val="1"/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4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Sheet1!$C$7:$F$7</c:f>
              <c:numCache>
                <c:formatCode>General</c:formatCode>
                <c:ptCount val="4"/>
                <c:pt idx="0">
                  <c:v>25</c:v>
                </c:pt>
                <c:pt idx="1">
                  <c:v>24</c:v>
                </c:pt>
                <c:pt idx="2">
                  <c:v>22</c:v>
                </c:pt>
                <c:pt idx="3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B11-F94C-A56D-BC831586978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83914223"/>
        <c:axId val="1575783759"/>
      </c:lineChart>
      <c:catAx>
        <c:axId val="1583914223"/>
        <c:scaling>
          <c:orientation val="minMax"/>
        </c:scaling>
        <c:delete val="1"/>
        <c:axPos val="b"/>
        <c:majorTickMark val="none"/>
        <c:minorTickMark val="none"/>
        <c:tickLblPos val="nextTo"/>
        <c:crossAx val="1575783759"/>
        <c:crosses val="autoZero"/>
        <c:auto val="1"/>
        <c:lblAlgn val="ctr"/>
        <c:lblOffset val="100"/>
        <c:noMultiLvlLbl val="0"/>
      </c:catAx>
      <c:valAx>
        <c:axId val="1575783759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5839142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71095800524933"/>
          <c:y val="5.3987730061349694E-2"/>
          <c:w val="0.82782607903178773"/>
          <c:h val="0.8321557412685377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White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53975" cap="rnd">
                <a:solidFill>
                  <a:srgbClr val="FF0000"/>
                </a:solidFill>
                <a:prstDash val="sysDot"/>
                <a:tailEnd type="arrow"/>
              </a:ln>
              <a:effectLst/>
            </c:spPr>
            <c:trendlineType val="linear"/>
            <c:dispRSqr val="1"/>
            <c:dispEq val="0"/>
            <c:trendlineLbl>
              <c:layout>
                <c:manualLayout>
                  <c:x val="0.12760758892207438"/>
                  <c:y val="-8.0818403134390815E-2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Franklin Gothic Book" panose="020B05030201020202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cat>
            <c:strRef>
              <c:f>Sheet1!$A$2:$A$5</c:f>
              <c:strCache>
                <c:ptCount val="4"/>
                <c:pt idx="0">
                  <c:v>SEP - DEC 2018</c:v>
                </c:pt>
                <c:pt idx="1">
                  <c:v>JAN - JUN 2019</c:v>
                </c:pt>
                <c:pt idx="2">
                  <c:v>JUL - SEP 2019</c:v>
                </c:pt>
                <c:pt idx="3">
                  <c:v>OCT - NOV 2019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3.57</c:v>
                </c:pt>
                <c:pt idx="1">
                  <c:v>52.5</c:v>
                </c:pt>
                <c:pt idx="2">
                  <c:v>78.13</c:v>
                </c:pt>
                <c:pt idx="3">
                  <c:v>76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A1-3C46-9DE5-DAD8879BF39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lack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2.0214271275520146E-3"/>
                  <c:y val="-2.295771953319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8A1-3C46-9DE5-DAD8879BF390}"/>
                </c:ext>
              </c:extLst>
            </c:dLbl>
            <c:dLbl>
              <c:idx val="1"/>
              <c:layout>
                <c:manualLayout>
                  <c:x val="2.0214271275519778E-3"/>
                  <c:y val="-3.06102927109240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8A1-3C46-9DE5-DAD8879BF390}"/>
                </c:ext>
              </c:extLst>
            </c:dLbl>
            <c:dLbl>
              <c:idx val="2"/>
              <c:layout>
                <c:manualLayout>
                  <c:x val="2.0214271275520519E-3"/>
                  <c:y val="-4.591543906638610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8A1-3C46-9DE5-DAD8879BF390}"/>
                </c:ext>
              </c:extLst>
            </c:dLbl>
            <c:dLbl>
              <c:idx val="3"/>
              <c:layout>
                <c:manualLayout>
                  <c:x val="4.0428542551041039E-3"/>
                  <c:y val="-3.44365792997895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8A1-3C46-9DE5-DAD8879BF390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EP - DEC 2018</c:v>
                </c:pt>
                <c:pt idx="1">
                  <c:v>JAN - JUN 2019</c:v>
                </c:pt>
                <c:pt idx="2">
                  <c:v>JUL - SEP 2019</c:v>
                </c:pt>
                <c:pt idx="3">
                  <c:v>OCT - NOV 2019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0</c:v>
                </c:pt>
                <c:pt idx="1">
                  <c:v>34.6</c:v>
                </c:pt>
                <c:pt idx="2">
                  <c:v>50.77</c:v>
                </c:pt>
                <c:pt idx="3">
                  <c:v>54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8A1-3C46-9DE5-DAD8879BF39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39"/>
        <c:overlap val="-35"/>
        <c:axId val="1265570879"/>
        <c:axId val="1265572511"/>
      </c:bar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 Patients</c:v>
                </c:pt>
              </c:strCache>
            </c:strRef>
          </c:tx>
          <c:spPr>
            <a:solidFill>
              <a:schemeClr val="accent1">
                <a:alpha val="34000"/>
              </a:schemeClr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numFmt formatCode="#,##0.00" sourceLinked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EP - DEC 2018</c:v>
                </c:pt>
                <c:pt idx="1">
                  <c:v>JAN - JUN 2019</c:v>
                </c:pt>
                <c:pt idx="2">
                  <c:v>JUL - SEP 2019</c:v>
                </c:pt>
                <c:pt idx="3">
                  <c:v>OCT - NOV 2019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3.5</c:v>
                </c:pt>
                <c:pt idx="1">
                  <c:v>38.32</c:v>
                </c:pt>
                <c:pt idx="2">
                  <c:v>56.07</c:v>
                </c:pt>
                <c:pt idx="3">
                  <c:v>59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A1-3C46-9DE5-DAD8879BF3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"/>
        <c:overlap val="-76"/>
        <c:axId val="159843744"/>
        <c:axId val="443207104"/>
      </c:barChart>
      <c:catAx>
        <c:axId val="1265570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1265572511"/>
        <c:crosses val="autoZero"/>
        <c:auto val="1"/>
        <c:lblAlgn val="ctr"/>
        <c:lblOffset val="100"/>
        <c:noMultiLvlLbl val="0"/>
      </c:catAx>
      <c:valAx>
        <c:axId val="12655725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/>
                  <a:t>Proportion of Patients who Returned for a PPHTN Visit </a:t>
                </a:r>
              </a:p>
            </c:rich>
          </c:tx>
          <c:layout>
            <c:manualLayout>
              <c:xMode val="edge"/>
              <c:yMode val="edge"/>
              <c:x val="1.8407374296553543E-2"/>
              <c:y val="0.162234645669291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1265570879"/>
        <c:crosses val="autoZero"/>
        <c:crossBetween val="between"/>
      </c:valAx>
      <c:valAx>
        <c:axId val="443207104"/>
        <c:scaling>
          <c:orientation val="minMax"/>
          <c:max val="90"/>
        </c:scaling>
        <c:delete val="1"/>
        <c:axPos val="r"/>
        <c:numFmt formatCode="General" sourceLinked="1"/>
        <c:majorTickMark val="out"/>
        <c:minorTickMark val="none"/>
        <c:tickLblPos val="nextTo"/>
        <c:crossAx val="159843744"/>
        <c:crosses val="max"/>
        <c:crossBetween val="between"/>
      </c:valAx>
      <c:catAx>
        <c:axId val="159843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432071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0.17516857881847742"/>
          <c:y val="2.9270691163604548E-2"/>
          <c:w val="0.5970058873645161"/>
          <c:h val="6.4569038110718277E-2"/>
        </c:manualLayout>
      </c:layout>
      <c:overlay val="0"/>
      <c:spPr>
        <a:solidFill>
          <a:schemeClr val="accent3">
            <a:lumMod val="20000"/>
            <a:lumOff val="80000"/>
          </a:schemeClr>
        </a:solidFill>
        <a:ln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2000">
          <a:latin typeface="Franklin Gothic Book" panose="020B05030201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87110532009804E-2"/>
          <c:y val="4.5546558704453441E-2"/>
          <c:w val="0.88423998643189516"/>
          <c:h val="0.78421451114157292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Telehealth</c:v>
                </c:pt>
              </c:strCache>
            </c:strRef>
          </c:tx>
          <c:spPr>
            <a:solidFill>
              <a:srgbClr val="DEECF8"/>
            </a:solidFill>
            <a:ln w="95250">
              <a:solidFill>
                <a:schemeClr val="accent5">
                  <a:lumMod val="60000"/>
                  <a:lumOff val="40000"/>
                </a:schemeClr>
              </a:solidFill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ASELINE</c:v>
                </c:pt>
                <c:pt idx="1">
                  <c:v>DEC 2019</c:v>
                </c:pt>
                <c:pt idx="2">
                  <c:v>JAN 2020</c:v>
                </c:pt>
                <c:pt idx="3">
                  <c:v>FEB 1-14 2020</c:v>
                </c:pt>
                <c:pt idx="4">
                  <c:v>FEB 15+ 2020</c:v>
                </c:pt>
                <c:pt idx="5">
                  <c:v>MAR 1-14 2020</c:v>
                </c:pt>
                <c:pt idx="6">
                  <c:v>MAR 15+ 2020</c:v>
                </c:pt>
                <c:pt idx="7">
                  <c:v>APR 2020</c:v>
                </c:pt>
                <c:pt idx="8">
                  <c:v>MAY 2020</c:v>
                </c:pt>
                <c:pt idx="9">
                  <c:v>JUN 2020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5.15</c:v>
                </c:pt>
                <c:pt idx="5">
                  <c:v>63.16</c:v>
                </c:pt>
                <c:pt idx="6">
                  <c:v>100</c:v>
                </c:pt>
                <c:pt idx="7">
                  <c:v>96.15</c:v>
                </c:pt>
                <c:pt idx="8">
                  <c:v>96.97</c:v>
                </c:pt>
                <c:pt idx="9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EA-9F47-BD6E-9AFC01A3E8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7"/>
        <c:overlap val="9"/>
        <c:axId val="2027549776"/>
        <c:axId val="20273325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 Patients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12700">
                <a:solidFill>
                  <a:schemeClr val="lt2"/>
                </a:solidFill>
                <a:round/>
              </a:ln>
              <a:effectLst/>
            </c:spPr>
          </c:marker>
          <c:cat>
            <c:strRef>
              <c:f>Sheet1!$A$2:$A$11</c:f>
              <c:strCache>
                <c:ptCount val="10"/>
                <c:pt idx="0">
                  <c:v>BASELINE</c:v>
                </c:pt>
                <c:pt idx="1">
                  <c:v>DEC 2019</c:v>
                </c:pt>
                <c:pt idx="2">
                  <c:v>JAN 2020</c:v>
                </c:pt>
                <c:pt idx="3">
                  <c:v>FEB 1-14 2020</c:v>
                </c:pt>
                <c:pt idx="4">
                  <c:v>FEB 15+ 2020</c:v>
                </c:pt>
                <c:pt idx="5">
                  <c:v>MAR 1-14 2020</c:v>
                </c:pt>
                <c:pt idx="6">
                  <c:v>MAR 15+ 2020</c:v>
                </c:pt>
                <c:pt idx="7">
                  <c:v>APR 2020</c:v>
                </c:pt>
                <c:pt idx="8">
                  <c:v>MAY 2020</c:v>
                </c:pt>
                <c:pt idx="9">
                  <c:v>JUN 2020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1EA-9F47-BD6E-9AFC01A3E8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lack Patients</c:v>
                </c:pt>
              </c:strCache>
            </c:strRef>
          </c:tx>
          <c:spPr>
            <a:ln w="508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19"/>
            <c:spPr>
              <a:solidFill>
                <a:schemeClr val="tx1"/>
              </a:solidFill>
              <a:ln w="12700">
                <a:solidFill>
                  <a:schemeClr val="lt2"/>
                </a:solidFill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3.8561882612007908E-2"/>
                  <c:y val="7.98611191116257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1EA-9F47-BD6E-9AFC01A3E884}"/>
                </c:ext>
              </c:extLst>
            </c:dLbl>
            <c:dLbl>
              <c:idx val="2"/>
              <c:layout>
                <c:manualLayout>
                  <c:x val="-3.6318120271315035E-2"/>
                  <c:y val="8.82218855239912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1EA-9F47-BD6E-9AFC01A3E8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BASELINE</c:v>
                </c:pt>
                <c:pt idx="1">
                  <c:v>DEC 2019</c:v>
                </c:pt>
                <c:pt idx="2">
                  <c:v>JAN 2020</c:v>
                </c:pt>
                <c:pt idx="3">
                  <c:v>FEB 1-14 2020</c:v>
                </c:pt>
                <c:pt idx="4">
                  <c:v>FEB 15+ 2020</c:v>
                </c:pt>
                <c:pt idx="5">
                  <c:v>MAR 1-14 2020</c:v>
                </c:pt>
                <c:pt idx="6">
                  <c:v>MAR 15+ 2020</c:v>
                </c:pt>
                <c:pt idx="7">
                  <c:v>APR 2020</c:v>
                </c:pt>
                <c:pt idx="8">
                  <c:v>MAY 2020</c:v>
                </c:pt>
                <c:pt idx="9">
                  <c:v>JUN 2020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9.9</c:v>
                </c:pt>
                <c:pt idx="2">
                  <c:v>48.5</c:v>
                </c:pt>
                <c:pt idx="7">
                  <c:v>76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1EA-9F47-BD6E-9AFC01A3E8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hite Patients</c:v>
                </c:pt>
              </c:strCache>
            </c:strRef>
          </c:tx>
          <c:spPr>
            <a:ln w="50800" cap="rnd">
              <a:solidFill>
                <a:srgbClr val="FF0000"/>
              </a:solidFill>
              <a:round/>
            </a:ln>
            <a:effectLst/>
          </c:spPr>
          <c:marker>
            <c:symbol val="triangle"/>
            <c:size val="17"/>
            <c:spPr>
              <a:solidFill>
                <a:srgbClr val="92D050"/>
              </a:solidFill>
              <a:ln w="12700">
                <a:solidFill>
                  <a:schemeClr val="bg2">
                    <a:lumMod val="75000"/>
                  </a:schemeClr>
                </a:solidFill>
                <a:round/>
              </a:ln>
              <a:effectLst/>
            </c:spPr>
          </c:marker>
          <c:dPt>
            <c:idx val="7"/>
            <c:marker>
              <c:symbol val="triangle"/>
              <c:size val="17"/>
              <c:spPr>
                <a:solidFill>
                  <a:srgbClr val="FF0000"/>
                </a:solidFill>
                <a:ln w="12700">
                  <a:solidFill>
                    <a:schemeClr val="bg2">
                      <a:lumMod val="75000"/>
                    </a:schemeClr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1EA-9F47-BD6E-9AFC01A3E884}"/>
              </c:ext>
            </c:extLst>
          </c:dPt>
          <c:dLbls>
            <c:dLbl>
              <c:idx val="2"/>
              <c:layout>
                <c:manualLayout>
                  <c:x val="-3.6318120271315077E-2"/>
                  <c:y val="-7.56805713234270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1EA-9F47-BD6E-9AFC01A3E8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BASELINE</c:v>
                </c:pt>
                <c:pt idx="1">
                  <c:v>DEC 2019</c:v>
                </c:pt>
                <c:pt idx="2">
                  <c:v>JAN 2020</c:v>
                </c:pt>
                <c:pt idx="3">
                  <c:v>FEB 1-14 2020</c:v>
                </c:pt>
                <c:pt idx="4">
                  <c:v>FEB 15+ 2020</c:v>
                </c:pt>
                <c:pt idx="5">
                  <c:v>MAR 1-14 2020</c:v>
                </c:pt>
                <c:pt idx="6">
                  <c:v>MAR 15+ 2020</c:v>
                </c:pt>
                <c:pt idx="7">
                  <c:v>APR 2020</c:v>
                </c:pt>
                <c:pt idx="8">
                  <c:v>MAY 2020</c:v>
                </c:pt>
                <c:pt idx="9">
                  <c:v>JUN 2020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55</c:v>
                </c:pt>
                <c:pt idx="2">
                  <c:v>73.099999999999994</c:v>
                </c:pt>
                <c:pt idx="7">
                  <c:v>76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1EA-9F47-BD6E-9AFC01A3E8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7549776"/>
        <c:axId val="2027332576"/>
      </c:lineChart>
      <c:catAx>
        <c:axId val="2027549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50">
                    <a:solidFill>
                      <a:schemeClr val="tx1"/>
                    </a:solidFill>
                  </a:rPr>
                  <a:t>Delivery Date</a:t>
                </a:r>
              </a:p>
            </c:rich>
          </c:tx>
          <c:layout>
            <c:manualLayout>
              <c:xMode val="edge"/>
              <c:yMode val="edge"/>
              <c:x val="0.4542416488782709"/>
              <c:y val="0.90155184168600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2027332576"/>
        <c:crosses val="autoZero"/>
        <c:auto val="1"/>
        <c:lblAlgn val="ctr"/>
        <c:lblOffset val="100"/>
        <c:noMultiLvlLbl val="0"/>
      </c:catAx>
      <c:valAx>
        <c:axId val="2027332576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  <a:latin typeface="Franklin Gothic Book" panose="020B0503020102020204" pitchFamily="34" charset="0"/>
                  </a:rPr>
                  <a:t>Proportion of Patients With PPHTN</a:t>
                </a:r>
              </a:p>
              <a:p>
                <a:pPr>
                  <a:defRPr sz="1400">
                    <a:solidFill>
                      <a:schemeClr val="tx1"/>
                    </a:solidFill>
                    <a:latin typeface="Franklin Gothic Book" panose="020B0503020102020204" pitchFamily="34" charset="0"/>
                  </a:defRPr>
                </a:pPr>
                <a:r>
                  <a:rPr lang="en-US" sz="1400">
                    <a:solidFill>
                      <a:schemeClr val="tx1"/>
                    </a:solidFill>
                    <a:latin typeface="Franklin Gothic Book" panose="020B0503020102020204" pitchFamily="34" charset="0"/>
                  </a:rPr>
                  <a:t> Follow-Up Within 6 Weeks (%)</a:t>
                </a:r>
              </a:p>
            </c:rich>
          </c:tx>
          <c:layout>
            <c:manualLayout>
              <c:xMode val="edge"/>
              <c:yMode val="edge"/>
              <c:x val="0"/>
              <c:y val="0.150054196857866"/>
            </c:manualLayout>
          </c:layout>
          <c:overlay val="0"/>
          <c:spPr>
            <a:noFill/>
            <a:ln w="12700">
              <a:solidFill>
                <a:schemeClr val="tx1"/>
              </a:solidFill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Franklin Gothic Book" panose="020B050302010202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2027549776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23626667274425914"/>
          <c:y val="0.93693727351457323"/>
          <c:w val="0.53868537787784609"/>
          <c:h val="6.3062726485426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/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r>
              <a:rPr lang="en-US"/>
              <a:t>Rates of PPHTN follow up</a:t>
            </a:r>
          </a:p>
        </c:rich>
      </c:tx>
      <c:layout>
        <c:manualLayout>
          <c:xMode val="edge"/>
          <c:yMode val="edge"/>
          <c:x val="0.3192234261716998"/>
          <c:y val="1.32275132275132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Black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34925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ymbol val="circle"/>
              <c:size val="7"/>
              <c:spPr>
                <a:solidFill>
                  <a:schemeClr val="accent1"/>
                </a:solidFill>
                <a:ln w="349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chemeClr val="accent1">
                    <a:lumMod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89D3-2F4C-AEF9-C77962C42F12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chemeClr val="accent1"/>
                </a:solidFill>
                <a:ln w="349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chemeClr val="accent1">
                    <a:lumMod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89D3-2F4C-AEF9-C77962C42F12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1"/>
                </a:solidFill>
                <a:ln w="349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57150" cap="rnd">
                <a:solidFill>
                  <a:schemeClr val="accent1">
                    <a:lumMod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89D3-2F4C-AEF9-C77962C42F12}"/>
              </c:ext>
            </c:extLst>
          </c:dPt>
          <c:dLbls>
            <c:dLbl>
              <c:idx val="0"/>
              <c:layout>
                <c:manualLayout>
                  <c:x val="-3.3605670348434431E-2"/>
                  <c:y val="5.05952380952379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9D3-2F4C-AEF9-C77962C42F12}"/>
                </c:ext>
              </c:extLst>
            </c:dLbl>
            <c:dLbl>
              <c:idx val="1"/>
              <c:layout>
                <c:manualLayout>
                  <c:x val="-3.9325044299597142E-2"/>
                  <c:y val="5.0595238095238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9D3-2F4C-AEF9-C77962C42F12}"/>
                </c:ext>
              </c:extLst>
            </c:dLbl>
            <c:dLbl>
              <c:idx val="2"/>
              <c:layout>
                <c:manualLayout>
                  <c:x val="-4.6174593941708177E-2"/>
                  <c:y val="6.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9D3-2F4C-AEF9-C77962C42F12}"/>
                </c:ext>
              </c:extLst>
            </c:dLbl>
            <c:dLbl>
              <c:idx val="3"/>
              <c:layout>
                <c:manualLayout>
                  <c:x val="-5.1311756173291451E-2"/>
                  <c:y val="6.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9D3-2F4C-AEF9-C77962C42F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2:$F$3</c:f>
              <c:strCache>
                <c:ptCount val="4"/>
                <c:pt idx="0">
                  <c:v>Baseline</c:v>
                </c:pt>
                <c:pt idx="1">
                  <c:v>STAMPP</c:v>
                </c:pt>
                <c:pt idx="2">
                  <c:v>STAMPP- telehealth</c:v>
                </c:pt>
                <c:pt idx="3">
                  <c:v>STAMPP- RPM</c:v>
                </c:pt>
              </c:strCache>
            </c:strRef>
          </c:cat>
          <c:val>
            <c:numRef>
              <c:f>Sheet1!$C$4:$F$4</c:f>
              <c:numCache>
                <c:formatCode>General</c:formatCode>
                <c:ptCount val="4"/>
                <c:pt idx="0">
                  <c:v>30</c:v>
                </c:pt>
                <c:pt idx="1">
                  <c:v>54.9</c:v>
                </c:pt>
                <c:pt idx="2">
                  <c:v>76.3</c:v>
                </c:pt>
                <c:pt idx="3">
                  <c:v>8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9D3-2F4C-AEF9-C77962C42F12}"/>
            </c:ext>
          </c:extLst>
        </c:ser>
        <c:ser>
          <c:idx val="1"/>
          <c:order val="1"/>
          <c:tx>
            <c:strRef>
              <c:f>Sheet1!$B$5</c:f>
              <c:strCache>
                <c:ptCount val="1"/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2:$F$3</c:f>
              <c:strCache>
                <c:ptCount val="4"/>
                <c:pt idx="0">
                  <c:v>Baseline</c:v>
                </c:pt>
                <c:pt idx="1">
                  <c:v>STAMPP</c:v>
                </c:pt>
                <c:pt idx="2">
                  <c:v>STAMPP- telehealth</c:v>
                </c:pt>
                <c:pt idx="3">
                  <c:v>STAMPP- RPM</c:v>
                </c:pt>
              </c:strCache>
            </c:strRef>
          </c:cat>
          <c:val>
            <c:numRef>
              <c:f>Sheet1!$C$5:$F$5</c:f>
              <c:numCache>
                <c:formatCode>General</c:formatCode>
                <c:ptCount val="4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D3-2F4C-AEF9-C77962C42F12}"/>
            </c:ext>
          </c:extLst>
        </c:ser>
        <c:ser>
          <c:idx val="2"/>
          <c:order val="2"/>
          <c:tx>
            <c:strRef>
              <c:f>Sheet1!$B$6</c:f>
              <c:strCache>
                <c:ptCount val="1"/>
                <c:pt idx="0">
                  <c:v>Non Black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diamond"/>
            <c:size val="13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8161305815402478E-2"/>
                  <c:y val="-6.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9D3-2F4C-AEF9-C77962C42F12}"/>
                </c:ext>
              </c:extLst>
            </c:dLbl>
            <c:dLbl>
              <c:idx val="1"/>
              <c:layout>
                <c:manualLayout>
                  <c:x val="-5.4736530994347027E-2"/>
                  <c:y val="-4.46428571428571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9D3-2F4C-AEF9-C77962C42F12}"/>
                </c:ext>
              </c:extLst>
            </c:dLbl>
            <c:dLbl>
              <c:idx val="2"/>
              <c:layout>
                <c:manualLayout>
                  <c:x val="-4.6174593941708177E-2"/>
                  <c:y val="-9.5238095238095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D3-2F4C-AEF9-C77962C42F12}"/>
                </c:ext>
              </c:extLst>
            </c:dLbl>
            <c:dLbl>
              <c:idx val="3"/>
              <c:layout>
                <c:manualLayout>
                  <c:x val="-5.8161305815402478E-2"/>
                  <c:y val="-4.16666666666666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9D3-2F4C-AEF9-C77962C42F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Franklin Gothic Book" panose="020B05030201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2:$F$3</c:f>
              <c:strCache>
                <c:ptCount val="4"/>
                <c:pt idx="0">
                  <c:v>Baseline</c:v>
                </c:pt>
                <c:pt idx="1">
                  <c:v>STAMPP</c:v>
                </c:pt>
                <c:pt idx="2">
                  <c:v>STAMPP- telehealth</c:v>
                </c:pt>
                <c:pt idx="3">
                  <c:v>STAMPP- RPM</c:v>
                </c:pt>
              </c:strCache>
            </c:strRef>
          </c:cat>
          <c:val>
            <c:numRef>
              <c:f>Sheet1!$C$6:$F$6</c:f>
              <c:numCache>
                <c:formatCode>General</c:formatCode>
                <c:ptCount val="4"/>
                <c:pt idx="0">
                  <c:v>53.6</c:v>
                </c:pt>
                <c:pt idx="1">
                  <c:v>76.2</c:v>
                </c:pt>
                <c:pt idx="2">
                  <c:v>76.7</c:v>
                </c:pt>
                <c:pt idx="3">
                  <c:v>88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9D3-2F4C-AEF9-C77962C42F1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78398623"/>
        <c:axId val="2030511695"/>
      </c:lineChart>
      <c:catAx>
        <c:axId val="18783986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2030511695"/>
        <c:crosses val="autoZero"/>
        <c:auto val="1"/>
        <c:lblAlgn val="ctr"/>
        <c:lblOffset val="100"/>
        <c:noMultiLvlLbl val="0"/>
      </c:catAx>
      <c:valAx>
        <c:axId val="203051169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pPr>
            <a:endParaRPr lang="en-US"/>
          </a:p>
        </c:txPr>
        <c:crossAx val="1878398623"/>
        <c:crosses val="autoZero"/>
        <c:crossBetween val="between"/>
        <c:majorUnit val="20"/>
        <c:minorUnit val="1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Franklin Gothic Book" panose="020B05030201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 b="1">
          <a:latin typeface="Franklin Gothic Book" panose="020B05030201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>
      <cs:styleClr val="auto"/>
    </cs:fillRef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7" name="Google Shape;119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28" name="Google Shape;119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29" name="Google Shape;119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68" name="Google Shape;12168;p11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69" name="Google Shape;12169;p1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6" name="Google Shape;12176;p11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77" name="Google Shape;12177;p11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178" name="Google Shape;12178;p11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2" name="Google Shape;12192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93" name="Google Shape;12193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194" name="Google Shape;12194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4" name="Google Shape;1220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205" name="Google Shape;12205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2206" name="Google Shape;12206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4" name="Google Shape;12214;p11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215" name="Google Shape;12215;p11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216" name="Google Shape;12216;p114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5" name="Google Shape;12265;p11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266" name="Google Shape;12266;p11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71" name="Google Shape;12271;p114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72" name="Google Shape;12272;p11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2" name="Google Shape;12282;p114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83" name="Google Shape;12283;p11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Google Shape;12289;p114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90" name="Google Shape;12290;p11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6" name="Google Shape;12296;p115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97" name="Google Shape;12297;p11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5" name="Google Shape;1193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36" name="Google Shape;1193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37" name="Google Shape;11937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3" name="Google Shape;12303;p115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04" name="Google Shape;12304;p11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2" name="Google Shape;12312;p115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13" name="Google Shape;12313;p11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9" name="Google Shape;12319;p115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20" name="Google Shape;12320;p11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27" name="Google Shape;12327;p115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28" name="Google Shape;12328;p11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3" name="Google Shape;12343;p115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44" name="Google Shape;12344;p1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2" name="Google Shape;12352;p115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53" name="Google Shape;12353;p11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2" name="Google Shape;12362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363" name="Google Shape;1236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8" name="Google Shape;12368;p11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369" name="Google Shape;12369;p115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370" name="Google Shape;12370;p115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9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6" name="Google Shape;12376;p115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377" name="Google Shape;12377;p115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378" name="Google Shape;12378;p115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87" name="Google Shape;12387;p11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388" name="Google Shape;12388;p11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389" name="Google Shape;12389;p116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2" name="Google Shape;11962;p11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63" name="Google Shape;11963;p1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5" name="Google Shape;12395;p116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396" name="Google Shape;12396;p11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5" name="Google Shape;12405;p11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06" name="Google Shape;12406;p116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07" name="Google Shape;12407;p116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3" name="Google Shape;12413;p11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14" name="Google Shape;12414;p116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15" name="Google Shape;12415;p116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21" name="Google Shape;12421;p116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22" name="Google Shape;12422;p11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29" name="Google Shape;12429;p116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30" name="Google Shape;12430;p11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48" name="Google Shape;12448;p116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49" name="Google Shape;12449;p11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55" name="Google Shape;12455;p116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56" name="Google Shape;12456;p116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66" name="Google Shape;12466;p116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67" name="Google Shape;12467;p1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1" name="Google Shape;12471;p116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72" name="Google Shape;12472;p11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6" name="Google Shape;12476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77" name="Google Shape;12477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8" name="Google Shape;11968;p11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69" name="Google Shape;11969;p11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70" name="Google Shape;11970;p11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5" name="Google Shape;12485;p117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86" name="Google Shape;12486;p117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6" name="Google Shape;12496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97" name="Google Shape;12497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498" name="Google Shape;12498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3" name="Google Shape;12503;p11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04" name="Google Shape;12504;p117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505" name="Google Shape;12505;p117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9" name="Google Shape;12509;p117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10" name="Google Shape;12510;p117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511" name="Google Shape;12511;p117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4" name="Google Shape;12524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525" name="Google Shape;12525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2" name="Google Shape;12532;p117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33" name="Google Shape;12533;p11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9" name="Google Shape;12539;p117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40" name="Google Shape;12540;p11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4" name="Google Shape;12544;p117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545" name="Google Shape;12545;p117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546" name="Google Shape;12546;p117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9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57" name="Google Shape;12557;p117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58" name="Google Shape;12558;p11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81" name="Google Shape;12581;p117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582" name="Google Shape;12582;p117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1" name="Google Shape;12021;p1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022" name="Google Shape;12022;p11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228600" algn="l" rtl="0">
              <a:lnSpc>
                <a:spcPct val="20225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Data Champions: 59-PVB, 57-BE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023" name="Google Shape;12023;p11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88" name="Google Shape;12588;p117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89" name="Google Shape;12589;p117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4" name="Google Shape;12594;p117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595" name="Google Shape;12595;p11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0" name="Google Shape;12600;p11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601" name="Google Shape;12601;p118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02" name="Google Shape;12602;p118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6" name="Google Shape;12606;p118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07" name="Google Shape;12607;p11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15" name="Google Shape;12615;p118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616" name="Google Shape;12616;p118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17" name="Google Shape;12617;p118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5" name="Google Shape;12675;p11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76" name="Google Shape;12676;p1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1" name="Google Shape;12681;p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82" name="Google Shape;12682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4" name="Google Shape;12694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95" name="Google Shape;12695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0" name="Google Shape;12700;p11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01" name="Google Shape;12701;p119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New language on sustaining birth equity work – requiring SMM data and NTSV data, patient/community engagement 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nfrastructure in place to continue equity work – things in place to actively do work together </a:t>
            </a:r>
            <a:endParaRPr/>
          </a:p>
        </p:txBody>
      </p:sp>
      <p:sp>
        <p:nvSpPr>
          <p:cNvPr id="12702" name="Google Shape;12702;p119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1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77" name="Google Shape;12077;p11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78" name="Google Shape;12078;p11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0" name="Google Shape;12710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1" name="Google Shape;12711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12" name="Google Shape;12712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63</a:t>
            </a:fld>
            <a:endParaRPr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64</a:t>
            </a:fld>
            <a:endParaRPr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45" name="Google Shape;12645;p118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46" name="Google Shape;12646;p11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137787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5" name="Google Shape;12655;p118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56" name="Google Shape;12656;p11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68151133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0" name="Google Shape;12660;p118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61" name="Google Shape;12661;p118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1699712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5" name="Google Shape;12665;p118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66" name="Google Shape;12666;p118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1347654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0" name="Google Shape;12670;p118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71" name="Google Shape;12671;p11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86047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5" name="Google Shape;1208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086" name="Google Shape;1208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91" name="Google Shape;12091;p11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92" name="Google Shape;12092;p11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4" name="Google Shape;12114;p1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15" name="Google Shape;12115;p11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116" name="Google Shape;12116;p11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5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1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5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6" Type="http://schemas.openxmlformats.org/officeDocument/2006/relationships/image" Target="../media/image82.emf"/><Relationship Id="rId5" Type="http://schemas.openxmlformats.org/officeDocument/2006/relationships/image" Target="../media/image81.emf"/><Relationship Id="rId4" Type="http://schemas.openxmlformats.org/officeDocument/2006/relationships/image" Target="../media/image80.emf"/></Relationships>
</file>

<file path=ppt/slideLayouts/_rels/slideLayout1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6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0.emf"/><Relationship Id="rId4" Type="http://schemas.openxmlformats.org/officeDocument/2006/relationships/oleObject" Target="../embeddings/oleObject2.bin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7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7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7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0.emf"/><Relationship Id="rId4" Type="http://schemas.openxmlformats.org/officeDocument/2006/relationships/oleObject" Target="../embeddings/oleObject4.bin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1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1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7.xml"/></Relationships>
</file>

<file path=ppt/slideLayouts/_rels/slideLayout1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1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/Relationships>
</file>

<file path=ppt/slideLayouts/_rels/slideLayout1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9.svg"/></Relationships>
</file>

<file path=ppt/slideLayouts/_rels/slideLayout1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3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g"/><Relationship Id="rId1" Type="http://schemas.openxmlformats.org/officeDocument/2006/relationships/slideMaster" Target="../slideMasters/slideMaster4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0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9" name="Google Shape;10149;p7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0" name="Google Shape;10150;p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51" name="Google Shape;10151;p7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52" name="Google Shape;10152;p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53" name="Google Shape;10153;p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54" name="Google Shape;10154;p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5" name="Google Shape;10155;p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56" name="Google Shape;10156;p7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7" name="Google Shape;10157;p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58" name="Google Shape;10158;p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10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0" name="Google Shape;10160;p7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1" name="Google Shape;10161;p7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62" name="Google Shape;10162;p7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63" name="Google Shape;10163;p7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4" name="Google Shape;10164;p7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65" name="Google Shape;10165;p7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66" name="Google Shape;10166;p7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67" name="Google Shape;10167;p75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8" name="Google Shape;10168;p75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9" name="Google Shape;10169;p7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70" name="Google Shape;10170;p7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10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2" name="Google Shape;10172;p7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3" name="Google Shape;10173;p7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4" name="Google Shape;10174;p7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5" name="Google Shape;10175;p7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76" name="Google Shape;10176;p7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77" name="Google Shape;10177;p7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8" name="Google Shape;10178;p75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79" name="Google Shape;10179;p75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0" name="Google Shape;10180;p7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81" name="Google Shape;10181;p7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2" name="Google Shape;10182;p7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3" name="Google Shape;10183;p7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4" name="Google Shape;10184;p7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10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6" name="Google Shape;10186;p7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87" name="Google Shape;10187;p7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8" name="Google Shape;10188;p7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89" name="Google Shape;10189;p7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0" name="Google Shape;10190;p7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1" name="Google Shape;10191;p7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92" name="Google Shape;10192;p7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10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4" name="Google Shape;10194;p7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95" name="Google Shape;10195;p7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6" name="Google Shape;10196;p7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7" name="Google Shape;10197;p75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8" name="Google Shape;10198;p7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9" name="Google Shape;10199;p7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00" name="Google Shape;10200;p7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01" name="Google Shape;10201;p7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10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3" name="Google Shape;10203;p7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4" name="Google Shape;10204;p7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5" name="Google Shape;10205;p7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06" name="Google Shape;10206;p7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7" name="Google Shape;10207;p7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8" name="Google Shape;10208;p7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9" name="Google Shape;10209;p7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0" name="Google Shape;10210;p7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10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2" name="Google Shape;10212;p7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3" name="Google Shape;10213;p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14" name="Google Shape;10214;p7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15" name="Google Shape;10215;p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6" name="Google Shape;10216;p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17" name="Google Shape;10217;p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8" name="Google Shape;10218;p7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9" name="Google Shape;10219;p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0" name="Google Shape;10220;p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10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2" name="Google Shape;10222;p134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3" name="Google Shape;10223;p13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4" name="Google Shape;10224;p13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25" name="Google Shape;10225;p13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26" name="Google Shape;10226;p13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27" name="Google Shape;10227;p13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28" name="Google Shape;10228;p13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29" name="Google Shape;10229;p1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10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31" name="Google Shape;10231;p13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32" name="Google Shape;10232;p13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3" name="Google Shape;10233;p13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4" name="Google Shape;10234;p13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35" name="Google Shape;10235;p1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36" name="Google Shape;10236;p13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7" name="Google Shape;10237;p13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10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9" name="Google Shape;10239;p13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40" name="Google Shape;10240;p13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41" name="Google Shape;10241;p13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42" name="Google Shape;10242;p1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3" name="Google Shape;10243;p1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4" name="Google Shape;10244;p1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5" name="Google Shape;10245;p1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46" name="Google Shape;10246;p1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7" name="Google Shape;10247;p1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8" name="Google Shape;10248;p1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49" name="Google Shape;10249;p1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250" name="Google Shape;10250;p13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0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52" name="Google Shape;10252;p13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3" name="Google Shape;10253;p1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4" name="Google Shape;10254;p13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5" name="Google Shape;10255;p1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6" name="Google Shape;10256;p1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57" name="Google Shape;10257;p13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8" name="Google Shape;10258;p13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9" name="Google Shape;10259;p13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0" name="Google Shape;10260;p1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1" name="Google Shape;10261;p1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10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3" name="Google Shape;10263;p1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4" name="Google Shape;10264;p13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65" name="Google Shape;10265;p1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6" name="Google Shape;10266;p1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7" name="Google Shape;10267;p1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8" name="Google Shape;10268;p1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69" name="Google Shape;10269;p1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70" name="Google Shape;10270;p13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1" name="Google Shape;10271;p13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72" name="Google Shape;10272;p1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73" name="Google Shape;10273;p1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10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75" name="Google Shape;10275;p1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76" name="Google Shape;10276;p1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77" name="Google Shape;10277;p1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8" name="Google Shape;10278;p1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79" name="Google Shape;10279;p1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80" name="Google Shape;10280;p13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1" name="Google Shape;10281;p135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2" name="Google Shape;10282;p135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3" name="Google Shape;10283;p13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4" name="Google Shape;10284;p13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5" name="Google Shape;10285;p13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6" name="Google Shape;10286;p1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87" name="Google Shape;10287;p1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10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9" name="Google Shape;10289;p13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90" name="Google Shape;10290;p13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91" name="Google Shape;10291;p13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92" name="Google Shape;10292;p13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93" name="Google Shape;10293;p13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94" name="Google Shape;10294;p13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95" name="Google Shape;10295;p13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10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7" name="Google Shape;10297;p13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98" name="Google Shape;10298;p13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99" name="Google Shape;10299;p13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0" name="Google Shape;10300;p13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1" name="Google Shape;10301;p13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2" name="Google Shape;10302;p13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3" name="Google Shape;10303;p13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4" name="Google Shape;10304;p1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5" name="Google Shape;10305;p13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06" name="Google Shape;10306;p13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07" name="Google Shape;10307;p13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08" name="Google Shape;10308;p13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10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0" name="Google Shape;10310;p13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311" name="Google Shape;10311;p13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12" name="Google Shape;10312;p13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3" name="Google Shape;10313;p13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14" name="Google Shape;10314;p13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5" name="Google Shape;10315;p13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316" name="Google Shape;10316;p1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7" name="Google Shape;10317;p13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9" name="Google Shape;10319;p1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0" name="Google Shape;10320;p1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1" name="Google Shape;10321;p1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22" name="Google Shape;10322;p1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3" name="Google Shape;10323;p1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4" name="Google Shape;10324;p1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5" name="Google Shape;10325;p1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6" name="Google Shape;10326;p1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10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8" name="Google Shape;10328;p1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9" name="Google Shape;10329;p1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0" name="Google Shape;10330;p1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1" name="Google Shape;10331;p1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2" name="Google Shape;10332;p1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33" name="Google Shape;10333;p13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p1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5" name="Google Shape;10335;p1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6" name="Google Shape;10336;p1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10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8" name="Google Shape;10338;p13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9" name="Google Shape;10339;p13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0" name="Google Shape;10340;p13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341" name="Google Shape;10341;p1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342" name="Google Shape;10342;p13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43" name="Google Shape;10343;p1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4" name="Google Shape;10344;p1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45" name="Google Shape;10345;p1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10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7" name="Google Shape;10347;p13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48" name="Google Shape;10348;p13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9" name="Google Shape;10349;p13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0" name="Google Shape;10350;p13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51" name="Google Shape;10351;p1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2" name="Google Shape;10352;p13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53" name="Google Shape;10353;p13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10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5" name="Google Shape;10355;p1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56" name="Google Shape;10356;p1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57" name="Google Shape;10357;p1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58" name="Google Shape;10358;p1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9" name="Google Shape;10359;p1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60" name="Google Shape;10360;p1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361" name="Google Shape;10361;p1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10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3" name="Google Shape;10363;p13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4" name="Google Shape;10364;p13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5" name="Google Shape;10365;p1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6" name="Google Shape;10366;p13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7" name="Google Shape;10367;p1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8" name="Google Shape;10368;p1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69" name="Google Shape;10369;p13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70" name="Google Shape;10370;p1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1" name="Google Shape;10371;p13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2" name="Google Shape;10372;p1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3" name="Google Shape;10373;p1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74" name="Google Shape;10374;p13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6" name="Google Shape;10376;p1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7" name="Google Shape;10377;p1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8" name="Google Shape;10378;p1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9" name="Google Shape;10379;p1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80" name="Google Shape;10380;p1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81" name="Google Shape;10381;p1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82" name="Google Shape;10382;p1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3" name="Google Shape;10383;p1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4" name="Google Shape;10384;p1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85" name="Google Shape;10385;p1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6" name="Google Shape;10386;p1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87" name="Google Shape;10387;p1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0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9" name="Google Shape;10389;p9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90" name="Google Shape;10390;p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1" name="Google Shape;10391;p9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92" name="Google Shape;10392;p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3" name="Google Shape;10393;p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94" name="Google Shape;10394;p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5" name="Google Shape;10395;p9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6" name="Google Shape;10396;p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7" name="Google Shape;10397;p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8" name="Google Shape;10398;p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10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0" name="Google Shape;10400;p9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p9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02" name="Google Shape;10402;p9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03" name="Google Shape;10403;p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04" name="Google Shape;10404;p9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5" name="Google Shape;10405;p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6" name="Google Shape;10406;p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07" name="Google Shape;10407;p9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8" name="Google Shape;10408;p9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9" name="Google Shape;10409;p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0" name="Google Shape;10410;p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2" name="Google Shape;10412;p1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13" name="Google Shape;10413;p1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4" name="Google Shape;10414;p1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15" name="Google Shape;10415;p1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6" name="Google Shape;10416;p1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17" name="Google Shape;10417;p1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8" name="Google Shape;10418;p13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9" name="Google Shape;10419;p13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0" name="Google Shape;10420;p1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21" name="Google Shape;10421;p1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2" name="Google Shape;10422;p1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23" name="Google Shape;10423;p1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4" name="Google Shape;10424;p1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26" name="Google Shape;10426;p9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27" name="Google Shape;10427;p9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28" name="Google Shape;10428;p9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29" name="Google Shape;10429;p9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0" name="Google Shape;10430;p9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31" name="Google Shape;10431;p9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2" name="Google Shape;10432;p9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3" name="Google Shape;10433;p9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4" name="Google Shape;10434;p9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6" name="Google Shape;10436;p9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37" name="Google Shape;10437;p9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8" name="Google Shape;10438;p9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39" name="Google Shape;10439;p91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40" name="Google Shape;10440;p91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1" name="Google Shape;10441;p9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42" name="Google Shape;10442;p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43" name="Google Shape;10443;p9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" name="Google Shape;10445;p9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6" name="Google Shape;10446;p9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7" name="Google Shape;10447;p9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8" name="Google Shape;10448;p9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9" name="Google Shape;10449;p9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0" name="Google Shape;10450;p9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51" name="Google Shape;10451;p9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52" name="Google Shape;10452;p9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0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4" name="Google Shape;10454;p136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5" name="Google Shape;10455;p136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456" name="Google Shape;10456;p136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0457" name="Google Shape;10457;p136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8" name="Google Shape;10458;p136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0459" name="Google Shape;10459;p13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1" name="Google Shape;10461;p8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62" name="Google Shape;10462;p8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3" name="Google Shape;10463;p8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4" name="Google Shape;10464;p8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65" name="Google Shape;10465;p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66" name="Google Shape;10466;p8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7" name="Google Shape;10467;p8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9" name="Google Shape;10469;p8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70" name="Google Shape;10470;p89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71" name="Google Shape;10471;p8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72" name="Google Shape;10472;p8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3" name="Google Shape;10473;p8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74" name="Google Shape;10474;p8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475" name="Google Shape;10475;p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10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7" name="Google Shape;10477;p9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78" name="Google Shape;10478;p9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79" name="Google Shape;10479;p9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80" name="Google Shape;10480;p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81" name="Google Shape;10481;p9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82" name="Google Shape;10482;p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3" name="Google Shape;10483;p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84" name="Google Shape;10484;p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6" name="Google Shape;10486;p1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87" name="Google Shape;10487;p1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8" name="Google Shape;10488;p1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89" name="Google Shape;10489;p1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90" name="Google Shape;10490;p1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91" name="Google Shape;10491;p1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2" name="Google Shape;10492;p13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3" name="Google Shape;10493;p1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94" name="Google Shape;10494;p1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5" name="Google Shape;10495;p1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" name="Google Shape;10497;p1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8" name="Google Shape;10498;p13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99" name="Google Shape;10499;p1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00" name="Google Shape;10500;p1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1" name="Google Shape;10501;p1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02" name="Google Shape;10502;p1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03" name="Google Shape;10503;p1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04" name="Google Shape;10504;p13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5" name="Google Shape;10505;p13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6" name="Google Shape;10506;p1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7" name="Google Shape;10507;p1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09" name="Google Shape;10509;p13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0" name="Google Shape;10510;p1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1" name="Google Shape;10511;p13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2" name="Google Shape;10512;p1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13" name="Google Shape;10513;p1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14" name="Google Shape;10514;p1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5" name="Google Shape;10515;p1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6" name="Google Shape;10516;p1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7" name="Google Shape;10517;p1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8" name="Google Shape;10518;p1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9" name="Google Shape;10519;p1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0" name="Google Shape;10520;p1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1" name="Google Shape;10521;p1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3" name="Google Shape;10523;p13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24" name="Google Shape;10524;p13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5" name="Google Shape;10525;p13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6" name="Google Shape;10526;p1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7" name="Google Shape;10527;p1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8" name="Google Shape;10528;p1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29" name="Google Shape;10529;p1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30" name="Google Shape;10530;p1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31" name="Google Shape;10531;p1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2" name="Google Shape;10532;p1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33" name="Google Shape;10533;p1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34" name="Google Shape;10534;p13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6" name="Google Shape;10536;p13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37" name="Google Shape;10537;p13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8" name="Google Shape;10538;p13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39" name="Google Shape;10539;p13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40" name="Google Shape;10540;p13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1" name="Google Shape;10541;p13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42" name="Google Shape;10542;p1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43" name="Google Shape;10543;p1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45" name="Google Shape;10545;p1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6" name="Google Shape;10546;p1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47" name="Google Shape;10547;p1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48" name="Google Shape;10548;p1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49" name="Google Shape;10549;p1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50" name="Google Shape;10550;p13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1" name="Google Shape;10551;p1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2" name="Google Shape;10552;p1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3" name="Google Shape;10553;p1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0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5" name="Google Shape;10555;p13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6" name="Google Shape;10556;p1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7" name="Google Shape;10557;p1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58" name="Google Shape;10558;p1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9" name="Google Shape;10559;p1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0" name="Google Shape;10560;p1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61" name="Google Shape;10561;p13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62" name="Google Shape;10562;p1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63" name="Google Shape;10563;p13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64" name="Google Shape;10564;p1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65" name="Google Shape;10565;p1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66" name="Google Shape;10566;p13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0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8" name="Google Shape;10568;p13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69" name="Google Shape;10569;p13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0" name="Google Shape;10570;p13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1" name="Google Shape;10571;p1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2" name="Google Shape;10572;p1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3" name="Google Shape;10573;p1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74" name="Google Shape;10574;p13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75" name="Google Shape;10575;p1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6" name="Google Shape;10576;p13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77" name="Google Shape;10577;p1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78" name="Google Shape;10578;p1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79" name="Google Shape;10579;p13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0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1" name="Google Shape;10581;p13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2" name="Google Shape;10582;p13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3" name="Google Shape;10583;p1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584" name="Google Shape;10584;p13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5" name="Google Shape;10585;p1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0586" name="Google Shape;10586;p13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7" name="Google Shape;10587;p13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8" name="Google Shape;10588;p13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p1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0" name="Google Shape;10590;p13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91" name="Google Shape;10591;p1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p13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94" name="Google Shape;10594;p13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5" name="Google Shape;10595;p1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6" name="Google Shape;10596;p13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7" name="Google Shape;10597;p1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8" name="Google Shape;10598;p1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99" name="Google Shape;10599;p1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00" name="Google Shape;10600;p1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1" name="Google Shape;10601;p1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02" name="Google Shape;10602;p1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3" name="Google Shape;10603;p1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04" name="Google Shape;10604;p13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6" name="Google Shape;10606;p3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7" name="Google Shape;10607;p3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8" name="Google Shape;10608;p3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9" name="Google Shape;10609;p3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0" name="Google Shape;10610;p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1" name="Google Shape;10611;p3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2" name="Google Shape;10612;p3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13" name="Google Shape;10613;p3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0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5" name="Google Shape;10615;p13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16" name="Google Shape;10616;p13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7" name="Google Shape;10617;p13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8" name="Google Shape;10618;p1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19" name="Google Shape;10619;p1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0" name="Google Shape;10620;p1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1" name="Google Shape;10621;p1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22" name="Google Shape;10622;p1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3" name="Google Shape;10623;p1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24" name="Google Shape;10624;p1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25" name="Google Shape;10625;p1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26" name="Google Shape;10626;p13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0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8" name="Google Shape;10628;p1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9" name="Google Shape;10629;p1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0" name="Google Shape;10630;p1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1" name="Google Shape;10631;p1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2" name="Google Shape;10632;p1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33" name="Google Shape;10633;p1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34" name="Google Shape;10634;p1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35" name="Google Shape;10635;p1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6" name="Google Shape;10636;p1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7" name="Google Shape;10637;p1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38" name="Google Shape;10638;p1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39" name="Google Shape;10639;p13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0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1" name="Google Shape;10641;p1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42" name="Google Shape;10642;p1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3" name="Google Shape;10643;p1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44" name="Google Shape;10644;p1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45" name="Google Shape;10645;p1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6" name="Google Shape;10646;p1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47" name="Google Shape;10647;p1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48" name="Google Shape;10648;p1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49" name="Google Shape;10649;p1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50" name="Google Shape;10650;p1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51" name="Google Shape;10651;p1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52" name="Google Shape;10652;p11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0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4" name="Google Shape;10654;p13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55" name="Google Shape;10655;p13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6" name="Google Shape;10656;p13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7" name="Google Shape;10657;p1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8" name="Google Shape;10658;p1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9" name="Google Shape;10659;p1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60" name="Google Shape;10660;p1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61" name="Google Shape;10661;p1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2" name="Google Shape;10662;p1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63" name="Google Shape;10663;p1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4" name="Google Shape;10664;p1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65" name="Google Shape;10665;p13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7" name="Google Shape;10667;p77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68" name="Google Shape;10668;p77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p77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70" name="Google Shape;10670;p7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71" name="Google Shape;10671;p77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72" name="Google Shape;10672;p7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3" name="Google Shape;10673;p7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74" name="Google Shape;10674;p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0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6" name="Google Shape;10676;p8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77" name="Google Shape;10677;p8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8" name="Google Shape;10678;p8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9" name="Google Shape;10679;p8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80" name="Google Shape;10680;p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81" name="Google Shape;10681;p8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2" name="Google Shape;10682;p8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4" name="Google Shape;10684;p7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85" name="Google Shape;10685;p7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86" name="Google Shape;10686;p7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87" name="Google Shape;10687;p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8" name="Google Shape;10688;p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689" name="Google Shape;10689;p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90" name="Google Shape;10690;p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0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2" name="Google Shape;10692;p13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93" name="Google Shape;10693;p13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4" name="Google Shape;10694;p13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5" name="Google Shape;10695;p1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6" name="Google Shape;10696;p1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7" name="Google Shape;10697;p1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98" name="Google Shape;10698;p1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9" name="Google Shape;10699;p1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0" name="Google Shape;10700;p1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1" name="Google Shape;10701;p1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2" name="Google Shape;10702;p1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703" name="Google Shape;10703;p13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5" name="Google Shape;10705;p7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06" name="Google Shape;10706;p7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7" name="Google Shape;10707;p7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8" name="Google Shape;10708;p7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9" name="Google Shape;10709;p7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10" name="Google Shape;10710;p7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1" name="Google Shape;10711;p7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2" name="Google Shape;10712;p7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3" name="Google Shape;10713;p7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4" name="Google Shape;10714;p7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6" name="Google Shape;10716;p8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7" name="Google Shape;10717;p8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18" name="Google Shape;10718;p8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9" name="Google Shape;10719;p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0" name="Google Shape;10720;p8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1" name="Google Shape;10721;p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2" name="Google Shape;10722;p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23" name="Google Shape;10723;p81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24" name="Google Shape;10724;p81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5" name="Google Shape;10725;p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6" name="Google Shape;10726;p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28" name="Google Shape;10728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29" name="Google Shape;10729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0" name="Google Shape;10730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1" name="Google Shape;10731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2" name="Google Shape;10732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33" name="Google Shape;10733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4" name="Google Shape;10734;p1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5" name="Google Shape;10735;p1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6" name="Google Shape;10736;p1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7" name="Google Shape;10737;p1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8" name="Google Shape;10738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9" name="Google Shape;10739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0" name="Google Shape;10740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0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2" name="Google Shape;10742;p1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3" name="Google Shape;10743;p1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4" name="Google Shape;10744;p1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5" name="Google Shape;10745;p1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6" name="Google Shape;10746;p1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47" name="Google Shape;10747;p13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8" name="Google Shape;10748;p1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9" name="Google Shape;10749;p1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50" name="Google Shape;10750;p1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0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2" name="Google Shape;10752;p1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53" name="Google Shape;10753;p1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4" name="Google Shape;10754;p1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55" name="Google Shape;10755;p1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6" name="Google Shape;10756;p1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7" name="Google Shape;10757;p1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58" name="Google Shape;10758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9" name="Google Shape;10759;p1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0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1" name="Google Shape;10761;p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62" name="Google Shape;10762;p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3" name="Google Shape;10763;p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64" name="Google Shape;10764;p7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5" name="Google Shape;10765;p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6" name="Google Shape;10766;p7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67" name="Google Shape;10767;p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8" name="Google Shape;10768;p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0" name="Google Shape;10770;p13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71" name="Google Shape;10771;p13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2" name="Google Shape;10772;p13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73" name="Google Shape;10773;p13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74" name="Google Shape;10774;p13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75" name="Google Shape;10775;p13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6" name="Google Shape;10776;p13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77" name="Google Shape;10777;p1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p1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80" name="Google Shape;10780;p1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1" name="Google Shape;10781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2" name="Google Shape;10782;p1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83" name="Google Shape;10783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84" name="Google Shape;10784;p1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p1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0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7" name="Google Shape;10787;p13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88" name="Google Shape;10788;p13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89" name="Google Shape;10789;p13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90" name="Google Shape;10790;p13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1" name="Google Shape;10791;p13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92" name="Google Shape;10792;p13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793" name="Google Shape;10793;p1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0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5" name="Google Shape;10795;p13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6" name="Google Shape;10796;p13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7" name="Google Shape;10797;p13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p1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p1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p1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1" name="Google Shape;10801;p1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2" name="Google Shape;10802;p1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3" name="Google Shape;10803;p1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04" name="Google Shape;10804;p1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05" name="Google Shape;10805;p1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06" name="Google Shape;10806;p13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0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8" name="Google Shape;10808;p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9" name="Google Shape;10809;p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0" name="Google Shape;10810;p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11" name="Google Shape;10811;p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12" name="Google Shape;10812;p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13" name="Google Shape;10813;p1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4" name="Google Shape;10814;p1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5" name="Google Shape;10815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6" name="Google Shape;10816;p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7" name="Google Shape;10817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0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9" name="Google Shape;10819;p1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0" name="Google Shape;10820;p1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21" name="Google Shape;108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2" name="Google Shape;108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3" name="Google Shape;108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24" name="Google Shape;108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25" name="Google Shape;108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26" name="Google Shape;10826;p1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7" name="Google Shape;10827;p1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8" name="Google Shape;10828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9" name="Google Shape;1082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0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1" name="Google Shape;10831;p9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32" name="Google Shape;10832;p9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33" name="Google Shape;10833;p9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4" name="Google Shape;10834;p9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35" name="Google Shape;10835;p9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36" name="Google Shape;10836;p9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7" name="Google Shape;10837;p9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38" name="Google Shape;10838;p9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9" name="Google Shape;10839;p9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40" name="Google Shape;10840;p9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1" name="Google Shape;10841;p9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42" name="Google Shape;10842;p9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3" name="Google Shape;10843;p9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0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5" name="Google Shape;10845;p9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46" name="Google Shape;10846;p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7" name="Google Shape;10847;p9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48" name="Google Shape;10848;p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49" name="Google Shape;10849;p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50" name="Google Shape;10850;p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1" name="Google Shape;10851;p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52" name="Google Shape;10852;p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53" name="Google Shape;10853;p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0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5" name="Google Shape;10855;p9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6" name="Google Shape;10856;p9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7" name="Google Shape;10857;p9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858" name="Google Shape;10858;p9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9" name="Google Shape;10859;p9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0" name="Google Shape;10860;p9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61" name="Google Shape;10861;p9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62" name="Google Shape;10862;p9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0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4" name="Google Shape;10864;p13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p1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p1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p13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68" name="Google Shape;10868;p1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p13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70" name="Google Shape;10870;p1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71" name="Google Shape;10871;p1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0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3" name="Google Shape;10873;p13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4" name="Google Shape;10874;p1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5" name="Google Shape;10875;p1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76" name="Google Shape;10876;p1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7" name="Google Shape;10877;p1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78" name="Google Shape;10878;p1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79" name="Google Shape;10879;p13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80" name="Google Shape;10880;p1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81" name="Google Shape;10881;p13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82" name="Google Shape;10882;p1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83" name="Google Shape;10883;p1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84" name="Google Shape;10884;p13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0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6" name="Google Shape;10886;p13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87" name="Google Shape;10887;p13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8" name="Google Shape;10888;p13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9" name="Google Shape;10889;p1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90" name="Google Shape;10890;p1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91" name="Google Shape;10891;p1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92" name="Google Shape;10892;p1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93" name="Google Shape;10893;p1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4" name="Google Shape;10894;p1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95" name="Google Shape;10895;p1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96" name="Google Shape;10896;p1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97" name="Google Shape;10897;p13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0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9" name="Google Shape;10899;p13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00" name="Google Shape;10900;p1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p1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p1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p1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p1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05" name="Google Shape;10905;p13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06" name="Google Shape;10906;p1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07" name="Google Shape;10907;p13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08" name="Google Shape;10908;p1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09" name="Google Shape;10909;p1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10" name="Google Shape;10910;p13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0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2" name="Google Shape;10912;p8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13" name="Google Shape;10913;p8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4" name="Google Shape;10914;p8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15" name="Google Shape;10915;p8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16" name="Google Shape;10916;p8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7" name="Google Shape;10917;p8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8" name="Google Shape;10918;p8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19" name="Google Shape;10919;p8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0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21" name="Google Shape;10921;p8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22" name="Google Shape;10922;p8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3" name="Google Shape;10923;p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4" name="Google Shape;10924;p8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25" name="Google Shape;10925;p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926" name="Google Shape;10926;p8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7" name="Google Shape;10927;p8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0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9" name="Google Shape;10929;p8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30" name="Google Shape;10930;p8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931" name="Google Shape;10931;p8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932" name="Google Shape;10932;p8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3" name="Google Shape;10933;p8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34" name="Google Shape;10934;p8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935" name="Google Shape;10935;p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0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7" name="Google Shape;10937;p13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38" name="Google Shape;10938;p13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9" name="Google Shape;10939;p13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0" name="Google Shape;10940;p1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1" name="Google Shape;10941;p1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2" name="Google Shape;10942;p1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43" name="Google Shape;10943;p1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44" name="Google Shape;10944;p1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45" name="Google Shape;10945;p1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46" name="Google Shape;10946;p1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47" name="Google Shape;10947;p1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48" name="Google Shape;10948;p138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0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0" name="Google Shape;10950;p13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51" name="Google Shape;10951;p13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2" name="Google Shape;10952;p13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53" name="Google Shape;10953;p1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4" name="Google Shape;10954;p1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5" name="Google Shape;10955;p1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6" name="Google Shape;10956;p1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57" name="Google Shape;10957;p1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8" name="Google Shape;10958;p1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59" name="Google Shape;10959;p1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0" name="Google Shape;10960;p1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61" name="Google Shape;10961;p13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0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63" name="Google Shape;10963;p8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64" name="Google Shape;10964;p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65" name="Google Shape;10965;p8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66" name="Google Shape;10966;p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7" name="Google Shape;10967;p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68" name="Google Shape;10968;p8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9" name="Google Shape;10969;p8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0" name="Google Shape;10970;p8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71" name="Google Shape;10971;p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72" name="Google Shape;10972;p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4" name="Google Shape;10974;p8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5" name="Google Shape;10975;p8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76" name="Google Shape;10976;p8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7" name="Google Shape;10977;p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78" name="Google Shape;10978;p8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79" name="Google Shape;10979;p8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80" name="Google Shape;10980;p8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81" name="Google Shape;10981;p8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2" name="Google Shape;10982;p8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83" name="Google Shape;10983;p8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84" name="Google Shape;10984;p8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0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86" name="Google Shape;10986;p8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87" name="Google Shape;10987;p8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8" name="Google Shape;10988;p8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89" name="Google Shape;10989;p8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90" name="Google Shape;10990;p8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91" name="Google Shape;10991;p8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2" name="Google Shape;10992;p8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3" name="Google Shape;10993;p8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4" name="Google Shape;10994;p8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5" name="Google Shape;10995;p8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6" name="Google Shape;10996;p8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97" name="Google Shape;10997;p8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98" name="Google Shape;10998;p8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0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0" name="Google Shape;11000;p8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01" name="Google Shape;11001;p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02" name="Google Shape;11002;p8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03" name="Google Shape;11003;p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04" name="Google Shape;11004;p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05" name="Google Shape;11005;p8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p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07" name="Google Shape;11007;p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08" name="Google Shape;11008;p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1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0" name="Google Shape;11010;p8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011" name="Google Shape;11011;p8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2" name="Google Shape;11012;p8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13" name="Google Shape;11013;p8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14" name="Google Shape;11014;p8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5" name="Google Shape;11015;p8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016" name="Google Shape;11016;p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017" name="Google Shape;11017;p8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9" name="Google Shape;11019;p8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0" name="Google Shape;11020;p8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1" name="Google Shape;11021;p8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22" name="Google Shape;11022;p8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23" name="Google Shape;11023;p8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4" name="Google Shape;11024;p8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25" name="Google Shape;11025;p8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6" name="Google Shape;11026;p8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" name="Google Shape;11028;p13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29" name="Google Shape;11029;p13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0" name="Google Shape;11030;p13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31" name="Google Shape;11031;p13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32" name="Google Shape;11032;p13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33" name="Google Shape;11033;p13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4" name="Google Shape;11034;p13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35" name="Google Shape;11035;p1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37" name="Google Shape;11037;p13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38" name="Google Shape;11038;p13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9" name="Google Shape;11039;p13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0" name="Google Shape;11040;p13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41" name="Google Shape;11041;p1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42" name="Google Shape;11042;p13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3" name="Google Shape;11043;p13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p91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6" name="Google Shape;11046;p91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47" name="Google Shape;11047;p91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8" name="Google Shape;11048;p91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9" name="Google Shape;11049;p91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50" name="Google Shape;11050;p91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51" name="Google Shape;11051;p9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3" name="Google Shape;11053;p13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54" name="Google Shape;11054;p13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55" name="Google Shape;11055;p13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56" name="Google Shape;11056;p1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57" name="Google Shape;11057;p1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58" name="Google Shape;11058;p1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9" name="Google Shape;11059;p1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0" name="Google Shape;11060;p1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1" name="Google Shape;11061;p1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2" name="Google Shape;11062;p1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3" name="Google Shape;11063;p1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064" name="Google Shape;11064;p13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66" name="Google Shape;11066;p13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7" name="Google Shape;11067;p1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8" name="Google Shape;11068;p13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9" name="Google Shape;11069;p13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0" name="Google Shape;11070;p13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71" name="Google Shape;11071;p13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p13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p13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p13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p13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7" name="Google Shape;11077;p13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8" name="Google Shape;11078;p13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79" name="Google Shape;11079;p13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0" name="Google Shape;11080;p1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1" name="Google Shape;11081;p13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82" name="Google Shape;11082;p13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3" name="Google Shape;11083;p13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84" name="Google Shape;11084;p13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5" name="Google Shape;11085;p13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86" name="Google Shape;11086;p13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87" name="Google Shape;11087;p13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9" name="Google Shape;11089;p13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90" name="Google Shape;11090;p1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1" name="Google Shape;11091;p13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92" name="Google Shape;11092;p1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3" name="Google Shape;11093;p1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94" name="Google Shape;11094;p13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p13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6" name="Google Shape;11096;p13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7" name="Google Shape;11097;p13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8" name="Google Shape;11098;p13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9" name="Google Shape;11099;p13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0" name="Google Shape;11100;p1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1" name="Google Shape;11101;p1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3" name="Google Shape;11103;p13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04" name="Google Shape;11104;p1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5" name="Google Shape;11105;p13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6" name="Google Shape;11106;p1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7" name="Google Shape;11107;p1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108" name="Google Shape;11108;p1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09" name="Google Shape;11109;p13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0" name="Google Shape;11110;p1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1" name="Google Shape;11111;p1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3" name="Google Shape;11113;p13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14" name="Google Shape;11114;p13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5" name="Google Shape;11115;p13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116" name="Google Shape;11116;p13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17" name="Google Shape;11117;p13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8" name="Google Shape;11118;p13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19" name="Google Shape;11119;p1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20" name="Google Shape;11120;p1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2" name="Google Shape;11122;p1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3" name="Google Shape;11123;p1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4" name="Google Shape;11124;p1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25" name="Google Shape;11125;p1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26" name="Google Shape;11126;p1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7" name="Google Shape;11127;p1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28" name="Google Shape;11128;p1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9" name="Google Shape;11129;p1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1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1" name="Google Shape;11131;p1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2" name="Google Shape;11132;p1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3" name="Google Shape;11133;p1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4" name="Google Shape;11134;p1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35" name="Google Shape;11135;p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6" name="Google Shape;11136;p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37" name="Google Shape;11137;p1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38" name="Google Shape;11138;p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39" name="Google Shape;11139;p1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40" name="Google Shape;11140;p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1" name="Google Shape;11141;p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42" name="Google Shape;11142;p11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1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4" name="Google Shape;11144;p77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5" name="Google Shape;11145;p770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6" name="Google Shape;11146;p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147" name="Google Shape;11147;p770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8" name="Google Shape;11148;p7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149" name="Google Shape;11149;p770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0" name="Google Shape;11150;p770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1" name="Google Shape;11151;p770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2" name="Google Shape;11152;p7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3" name="Google Shape;11153;p7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54" name="Google Shape;11154;p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6" name="Google Shape;11156;p13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7" name="Google Shape;11157;p13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8" name="Google Shape;11158;p13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9" name="Google Shape;11159;p1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60" name="Google Shape;11160;p1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1" name="Google Shape;11161;p1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62" name="Google Shape;11162;p1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63" name="Google Shape;11163;p1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4" name="Google Shape;11164;p1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65" name="Google Shape;11165;p1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66" name="Google Shape;11166;p1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67" name="Google Shape;11167;p13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1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9" name="Google Shape;11169;p14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0" name="Google Shape;11170;p1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1" name="Google Shape;11171;p1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2" name="Google Shape;11172;p1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3" name="Google Shape;11173;p1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4" name="Google Shape;11174;p1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5" name="Google Shape;11175;p1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76" name="Google Shape;11176;p1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77" name="Google Shape;11177;p1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8" name="Google Shape;11178;p1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79" name="Google Shape;11179;p1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80" name="Google Shape;11180;p14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2" name="Google Shape;11182;p33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3" name="Google Shape;11183;p33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84" name="Google Shape;11184;p3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85" name="Google Shape;11185;p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6" name="Google Shape;11186;p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1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8" name="Google Shape;11188;p27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89" name="Google Shape;11189;p27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0" name="Google Shape;11190;p2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91" name="Google Shape;11191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193" name="Google Shape;11193;p27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4" name="Google Shape;11194;p27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5" name="Google Shape;11195;p27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196" name="Google Shape;11196;p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8" name="Google Shape;11198;p3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9" name="Google Shape;11199;p3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0" name="Google Shape;11200;p3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01" name="Google Shape;11201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2" name="Google Shape;11202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03" name="Google Shape;11203;p3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4" name="Google Shape;11204;p3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5" name="Google Shape;11205;p3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06" name="Google Shape;11206;p3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8" name="Google Shape;11208;p3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9" name="Google Shape;11209;p3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0" name="Google Shape;11210;p3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1" name="Google Shape;11211;p3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12" name="Google Shape;11212;p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4" name="Google Shape;11214;p3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15" name="Google Shape;11215;p3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16" name="Google Shape;11216;p3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7" name="Google Shape;11217;p3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8" name="Google Shape;11218;p3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0" name="Google Shape;11220;p3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1" name="Google Shape;11221;p3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2" name="Google Shape;11222;p3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3" name="Google Shape;11223;p3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4" name="Google Shape;11224;p3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25" name="Google Shape;11225;p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1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7" name="Google Shape;11227;p3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8" name="Google Shape;11228;p3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p3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30" name="Google Shape;11230;p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1" name="Google Shape;11231;p3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32" name="Google Shape;11232;p3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3" name="Google Shape;11233;p3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4" name="Google Shape;11234;p3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35" name="Google Shape;11235;p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7" name="Google Shape;11237;p3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8" name="Google Shape;11238;p3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9" name="Google Shape;11239;p3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0" name="Google Shape;11240;p3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41" name="Google Shape;11241;p3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3" name="Google Shape;11243;p3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44" name="Google Shape;11244;p3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45" name="Google Shape;11245;p3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6" name="Google Shape;11246;p3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7" name="Google Shape;11247;p3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9" name="Google Shape;11249;p3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0" name="Google Shape;11250;p3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1" name="Google Shape;11251;p3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2" name="Google Shape;11252;p3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3" name="Google Shape;11253;p3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54" name="Google Shape;11254;p3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6" name="Google Shape;11256;p14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7" name="Google Shape;11257;p14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p14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59" name="Google Shape;11259;p1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p1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61" name="Google Shape;11261;p14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2" name="Google Shape;11262;p14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3" name="Google Shape;11263;p14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64" name="Google Shape;11264;p1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Google Shape;11266;p14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7" name="Google Shape;11267;p14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8" name="Google Shape;11268;p14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69" name="Google Shape;11269;p1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0" name="Google Shape;11270;p1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71" name="Google Shape;11271;p140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2" name="Google Shape;11272;p140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3" name="Google Shape;11273;p14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74" name="Google Shape;11274;p1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p14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77" name="Google Shape;11277;p14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8" name="Google Shape;11278;p14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79" name="Google Shape;11279;p14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0" name="Google Shape;11280;p14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81" name="Google Shape;11281;p14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2" name="Google Shape;11282;p14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3" name="Google Shape;11283;p14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84" name="Google Shape;11284;p1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6" name="Google Shape;11286;p140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7" name="Google Shape;11287;p140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8" name="Google Shape;11288;p140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9" name="Google Shape;11289;p140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90" name="Google Shape;11290;p14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2" name="Google Shape;11292;p140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93" name="Google Shape;11293;p1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94" name="Google Shape;11294;p140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5" name="Google Shape;11295;p140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6" name="Google Shape;11296;p140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8" name="Google Shape;11298;p140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9" name="Google Shape;11299;p140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00" name="Google Shape;11300;p140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1" name="Google Shape;11301;p140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2" name="Google Shape;11302;p140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03" name="Google Shape;11303;p1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5" name="Google Shape;11305;p14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6" name="Google Shape;11306;p14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7" name="Google Shape;11307;p14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08" name="Google Shape;11308;p1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9" name="Google Shape;11309;p1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10" name="Google Shape;11310;p14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1" name="Google Shape;11311;p14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2" name="Google Shape;11312;p14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3" name="Google Shape;11313;p14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5" name="Google Shape;11315;p140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16" name="Google Shape;11316;p14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7" name="Google Shape;11317;p14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8" name="Google Shape;11318;p140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9" name="Google Shape;11319;p14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p14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22" name="Google Shape;11322;p14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23" name="Google Shape;11323;p14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4" name="Google Shape;11324;p140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25" name="Google Shape;11325;p140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7" name="Google Shape;11327;p141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8" name="Google Shape;11328;p141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9" name="Google Shape;11329;p141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0" name="Google Shape;11330;p141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1" name="Google Shape;11331;p141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32" name="Google Shape;11332;p14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4" name="Google Shape;11334;p9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5" name="Google Shape;11335;p9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6" name="Google Shape;11336;p9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37" name="Google Shape;11337;p9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8" name="Google Shape;11338;p9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39" name="Google Shape;11339;p9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0" name="Google Shape;11340;p9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1" name="Google Shape;11341;p9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2" name="Google Shape;11342;p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4" name="Google Shape;11344;p141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p141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6" name="Google Shape;11346;p141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7" name="Google Shape;11347;p141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8" name="Google Shape;11348;p1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0" name="Google Shape;11350;p141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51" name="Google Shape;11351;p1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52" name="Google Shape;11352;p141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3" name="Google Shape;11353;p141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4" name="Google Shape;11354;p141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1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6" name="Google Shape;11356;p141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7" name="Google Shape;11357;p141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8" name="Google Shape;11358;p141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9" name="Google Shape;11359;p141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0" name="Google Shape;11360;p141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61" name="Google Shape;11361;p14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3" name="Google Shape;11363;p87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4" name="Google Shape;11364;p87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5" name="Google Shape;11365;p87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6" name="Google Shape;11366;p87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67" name="Google Shape;11367;p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9" name="Google Shape;11369;p8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70" name="Google Shape;11370;p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71" name="Google Shape;11371;p8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2" name="Google Shape;11372;p87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3" name="Google Shape;11373;p87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5" name="Google Shape;11375;p8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6" name="Google Shape;11376;p8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7" name="Google Shape;11377;p88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8" name="Google Shape;11378;p88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9" name="Google Shape;11379;p88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80" name="Google Shape;11380;p8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2" name="Google Shape;11382;p103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3" name="Google Shape;11383;p10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4" name="Google Shape;11384;p10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5" name="Google Shape;11385;p103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86" name="Google Shape;11386;p10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8" name="Google Shape;11388;p10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89" name="Google Shape;11389;p1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90" name="Google Shape;11390;p10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1" name="Google Shape;11391;p10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2" name="Google Shape;11392;p10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4" name="Google Shape;11394;p3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5" name="Google Shape;11395;p3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6" name="Google Shape;11396;p3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7" name="Google Shape;11397;p3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8" name="Google Shape;11398;p3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99" name="Google Shape;11399;p3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1" name="Google Shape;11401;p10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2" name="Google Shape;11402;p10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3" name="Google Shape;11403;p10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04" name="Google Shape;11404;p10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05" name="Google Shape;11405;p10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06" name="Google Shape;11406;p10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7" name="Google Shape;11407;p10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08" name="Google Shape;11408;p10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10" name="Google Shape;11410;p10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11" name="Google Shape;11411;p10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2" name="Google Shape;11412;p10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3" name="Google Shape;11413;p10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14" name="Google Shape;11414;p1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15" name="Google Shape;11415;p10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6" name="Google Shape;11416;p10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1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8" name="Google Shape;11418;p80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19" name="Google Shape;11419;p80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20" name="Google Shape;11420;p80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21" name="Google Shape;11421;p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2" name="Google Shape;11422;p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23" name="Google Shape;11423;p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24" name="Google Shape;11424;p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6" name="Google Shape;11426;p1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27" name="Google Shape;11427;p1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8" name="Google Shape;11428;p1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9" name="Google Shape;11429;p1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30" name="Google Shape;11430;p1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31" name="Google Shape;11431;p1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2" name="Google Shape;11432;p1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33" name="Google Shape;11433;p1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4" name="Google Shape;11434;p1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5" name="Google Shape;11435;p1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36" name="Google Shape;11436;p1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437" name="Google Shape;11437;p14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9" name="Google Shape;11439;p10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40" name="Google Shape;11440;p10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41" name="Google Shape;11441;p10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42" name="Google Shape;11442;p10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43" name="Google Shape;11443;p10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44" name="Google Shape;11444;p10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5" name="Google Shape;11445;p10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6" name="Google Shape;11446;p1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7" name="Google Shape;11447;p10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8" name="Google Shape;11448;p1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0" name="Google Shape;11450;p8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51" name="Google Shape;11451;p8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2" name="Google Shape;11452;p8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53" name="Google Shape;11453;p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4" name="Google Shape;11454;p8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55" name="Google Shape;11455;p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56" name="Google Shape;11456;p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57" name="Google Shape;11457;p8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8" name="Google Shape;11458;p8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9" name="Google Shape;11459;p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60" name="Google Shape;11460;p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2" name="Google Shape;11462;p10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63" name="Google Shape;11463;p1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4" name="Google Shape;11464;p10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65" name="Google Shape;11465;p10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66" name="Google Shape;11466;p10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67" name="Google Shape;11467;p10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8" name="Google Shape;11468;p102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p102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p10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71" name="Google Shape;11471;p10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2" name="Google Shape;11472;p10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3" name="Google Shape;11473;p10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4" name="Google Shape;11474;p10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1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6" name="Google Shape;11476;p10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7" name="Google Shape;11477;p10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8" name="Google Shape;11478;p10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79" name="Google Shape;11479;p10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80" name="Google Shape;11480;p10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81" name="Google Shape;11481;p10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2" name="Google Shape;11482;p10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3" name="Google Shape;11483;p10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4" name="Google Shape;11484;p10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1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6" name="Google Shape;11486;p10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7" name="Google Shape;11487;p10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8" name="Google Shape;11488;p10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89" name="Google Shape;11489;p103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90" name="Google Shape;11490;p103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91" name="Google Shape;11491;p10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2" name="Google Shape;11492;p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3" name="Google Shape;11493;p10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5" name="Google Shape;11495;p10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6" name="Google Shape;11496;p10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7" name="Google Shape;11497;p10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8" name="Google Shape;11498;p10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99" name="Google Shape;11499;p10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0" name="Google Shape;11500;p10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1" name="Google Shape;11501;p10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02" name="Google Shape;11502;p10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4" name="Google Shape;11504;p14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5" name="Google Shape;11505;p1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6" name="Google Shape;11506;p1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07" name="Google Shape;11507;p1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08" name="Google Shape;11508;p1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09" name="Google Shape;11509;p1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0" name="Google Shape;11510;p1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1" name="Google Shape;11511;p1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1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3" name="Google Shape;11513;p14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14" name="Google Shape;11514;p14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5" name="Google Shape;11515;p14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6" name="Google Shape;11516;p14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7" name="Google Shape;11517;p1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18" name="Google Shape;11518;p14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9" name="Google Shape;11519;p14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11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1" name="Google Shape;11521;p14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22" name="Google Shape;11522;p14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23" name="Google Shape;11523;p14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24" name="Google Shape;11524;p14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5" name="Google Shape;11525;p14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26" name="Google Shape;11526;p14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27" name="Google Shape;11527;p1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9" name="Google Shape;11529;p14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0" name="Google Shape;11530;p14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1" name="Google Shape;11531;p14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2" name="Google Shape;11532;p1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3" name="Google Shape;11533;p1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4" name="Google Shape;11534;p1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5" name="Google Shape;11535;p1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36" name="Google Shape;11536;p1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7" name="Google Shape;11537;p1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38" name="Google Shape;11538;p1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39" name="Google Shape;11539;p1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540" name="Google Shape;11540;p14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42" name="Google Shape;11542;p1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3" name="Google Shape;11543;p1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4" name="Google Shape;11544;p1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5" name="Google Shape;11545;p1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46" name="Google Shape;11546;p1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47" name="Google Shape;11547;p14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8" name="Google Shape;11548;p14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9" name="Google Shape;11549;p1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0" name="Google Shape;11550;p1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51" name="Google Shape;11551;p1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11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3" name="Google Shape;11553;p14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4" name="Google Shape;11554;p14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55" name="Google Shape;11555;p14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56" name="Google Shape;11556;p1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7" name="Google Shape;11557;p14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58" name="Google Shape;11558;p14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59" name="Google Shape;11559;p14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60" name="Google Shape;11560;p142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61" name="Google Shape;11561;p142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62" name="Google Shape;11562;p14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3" name="Google Shape;11563;p14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1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5" name="Google Shape;11565;p1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66" name="Google Shape;11566;p1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67" name="Google Shape;11567;p1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8" name="Google Shape;11568;p1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69" name="Google Shape;11569;p1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70" name="Google Shape;11570;p1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71" name="Google Shape;11571;p1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2" name="Google Shape;11572;p1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3" name="Google Shape;11573;p1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4" name="Google Shape;11574;p1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5" name="Google Shape;11575;p1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76" name="Google Shape;11576;p1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77" name="Google Shape;11577;p1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9" name="Google Shape;11579;p1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80" name="Google Shape;11580;p1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1" name="Google Shape;11581;p1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82" name="Google Shape;11582;p1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83" name="Google Shape;11583;p1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84" name="Google Shape;11584;p14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5" name="Google Shape;11585;p1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6" name="Google Shape;11586;p1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7" name="Google Shape;11587;p1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11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89" name="Google Shape;11589;p14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590" name="Google Shape;11590;p14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1" name="Google Shape;11591;p14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92" name="Google Shape;11592;p142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93" name="Google Shape;11593;p142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4" name="Google Shape;11594;p14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95" name="Google Shape;11595;p14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596" name="Google Shape;11596;p14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8" name="Google Shape;11598;p1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99" name="Google Shape;11599;p1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0" name="Google Shape;11600;p1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01" name="Google Shape;11601;p1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02" name="Google Shape;11602;p1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3" name="Google Shape;11603;p1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04" name="Google Shape;11604;p1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05" name="Google Shape;11605;p1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7" name="Google Shape;11607;p28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608" name="Google Shape;11608;p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09" name="Google Shape;11609;p28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610" name="Google Shape;11610;p28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11" name="Google Shape;11611;p284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612" name="Google Shape;11612;p28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3" name="Google Shape;11613;p28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4" name="Google Shape;11614;p28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5" name="Google Shape;11615;p28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1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7" name="Google Shape;11617;p28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18" name="Google Shape;11618;p28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9" name="Google Shape;11619;p28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0" name="Google Shape;11620;p28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1" name="Google Shape;116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622" name="Google Shape;11622;p28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4" name="Google Shape;11624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5" name="Google Shape;11625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6" name="Google Shape;11626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27" name="Google Shape;11627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8" name="Google Shape;11628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9" name="Google Shape;11629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0" name="Google Shape;11630;p4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31" name="Google Shape;11631;p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2" name="Google Shape;11632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3" name="Google Shape;11633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5" name="Google Shape;11635;p4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36" name="Google Shape;11636;p4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37" name="Google Shape;11637;p4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38" name="Google Shape;11638;p4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39" name="Google Shape;11639;p4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0" name="Google Shape;11640;p4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41" name="Google Shape;11641;p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2">
    <p:spTree>
      <p:nvGrpSpPr>
        <p:cNvPr id="1" name="Shape 1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43" name="Google Shape;11643;p1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4" name="Google Shape;11644;p1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45" name="Google Shape;11645;p1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6" name="Google Shape;11646;p1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7" name="Google Shape;11647;p1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48" name="Google Shape;11648;p14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9" name="Google Shape;11649;p14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50" name="Google Shape;11650;p1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51" name="Google Shape;11651;p1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2" name="Google Shape;11652;p1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1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4" name="Google Shape;11654;p142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55" name="Google Shape;11655;p142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56" name="Google Shape;11656;p142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57" name="Google Shape;11657;p14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58" name="Google Shape;11658;p14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59" name="Google Shape;11659;p14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60" name="Google Shape;11660;p1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1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2" name="Google Shape;11662;p1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63" name="Google Shape;11663;p14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1664" name="Google Shape;11664;p1427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5" name="Google Shape;11665;p142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3">
    <p:spTree>
      <p:nvGrpSpPr>
        <p:cNvPr id="1" name="Shape 1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7" name="Google Shape;11667;p14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1668" name="Google Shape;11668;p1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69" name="Google Shape;11669;p1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0" name="Google Shape;11670;p1428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1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2" name="Google Shape;11672;p14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1673" name="Google Shape;11673;p142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4" name="Google Shape;11674;p1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5" name="Google Shape;11675;p142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1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7" name="Google Shape;11677;p1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78" name="Google Shape;11678;p14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1679" name="Google Shape;11679;p1430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0" name="Google Shape;11680;p1430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2" name="Google Shape;11682;p1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3" name="Google Shape;11683;p14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p1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85" name="Google Shape;11685;p14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7" name="Google Shape;11687;p1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8" name="Google Shape;11688;p14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9" name="Google Shape;11689;p14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0" name="Google Shape;11690;p14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92" name="Google Shape;11692;p1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93" name="Google Shape;11693;p14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95" name="Google Shape;11695;p14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6" name="Google Shape;11696;p14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7" name="Google Shape;11697;p14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98" name="Google Shape;11698;p14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9" name="Google Shape;11699;p14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00" name="Google Shape;11700;p14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1" name="Google Shape;11701;p14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2" name="Google Shape;11702;p14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3" name="Google Shape;11703;p1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11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5" name="Google Shape;11705;p14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6" name="Google Shape;11706;p14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7" name="Google Shape;11707;p14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8" name="Google Shape;11708;p14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9" name="Google Shape;11709;p1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11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1" name="Google Shape;11711;p4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12" name="Google Shape;11712;p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713" name="Google Shape;11713;p4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4" name="Google Shape;11714;p40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5" name="Google Shape;11715;p40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11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7" name="Google Shape;11717;p40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8" name="Google Shape;11718;p40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9" name="Google Shape;11719;p40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0" name="Google Shape;11720;p40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1" name="Google Shape;11721;p40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22" name="Google Shape;11722;p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4" name="Google Shape;11724;p35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25" name="Google Shape;11725;p35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6" name="Google Shape;11726;p35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7" name="Google Shape;11727;p35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p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29" name="Google Shape;11729;p35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1" name="Google Shape;11731;p143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2" name="Google Shape;11732;p143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1733" name="Google Shape;11733;p14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34" name="Google Shape;11734;p1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5" name="Google Shape;11735;p14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7" name="Google Shape;11737;p143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p143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739" name="Google Shape;11739;p143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740" name="Google Shape;11740;p1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41" name="Google Shape;11741;p1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2" name="Google Shape;11742;p1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4" name="Google Shape;11744;p143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45" name="Google Shape;11745;p143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6" name="Google Shape;11746;p143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p143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8" name="Google Shape;11748;p143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9" name="Google Shape;11749;p143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50" name="Google Shape;11750;p143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1" name="Google Shape;11751;p143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52" name="Google Shape;11752;p1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1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54" name="Google Shape;11754;p14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55" name="Google Shape;11755;p14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p14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57" name="Google Shape;11757;p14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p14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9" name="Google Shape;11759;p14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0" name="Google Shape;11760;p14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1" name="Google Shape;11761;p1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2" name="Google Shape;11762;p14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3" name="Google Shape;11763;p1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1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5" name="Google Shape;11765;p14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66" name="Google Shape;11766;p14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67" name="Google Shape;11767;p14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768" name="Google Shape;11768;p14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69" name="Google Shape;11769;p14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70" name="Google Shape;11770;p14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771" name="Google Shape;11771;p1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3" name="Google Shape;11773;p14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4" name="Google Shape;11774;p14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5" name="Google Shape;11775;p1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76" name="Google Shape;11776;p1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77" name="Google Shape;11777;p1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78" name="Google Shape;11778;p1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79" name="Google Shape;11779;p14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0" name="Google Shape;11780;p1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81" name="Google Shape;11781;p14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82" name="Google Shape;11782;p1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83" name="Google Shape;11783;p1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784" name="Google Shape;11784;p14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1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" name="Google Shape;11786;p14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87" name="Google Shape;11787;p14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88" name="Google Shape;11788;p14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9" name="Google Shape;11789;p14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0" name="Google Shape;11790;p14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1" name="Google Shape;11791;p14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92" name="Google Shape;11792;p14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93" name="Google Shape;11793;p14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94" name="Google Shape;11794;p1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1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" name="Google Shape;11796;p144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7" name="Google Shape;11797;p144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8" name="Google Shape;11798;p144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9" name="Google Shape;11799;p144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800" name="Google Shape;11800;p144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1" name="Google Shape;11801;p144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802" name="Google Shape;11802;p144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3" name="Google Shape;11803;p144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804" name="Google Shape;11804;p1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11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6" name="Google Shape;11806;p14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7" name="Google Shape;11807;p14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8" name="Google Shape;11808;p14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9" name="Google Shape;11809;p14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0" name="Google Shape;11810;p1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11" name="Google Shape;11811;p1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12" name="Google Shape;11812;p14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13" name="Google Shape;11813;p1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14" name="Google Shape;11814;p14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5" name="Google Shape;11815;p1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16" name="Google Shape;11816;p1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17" name="Google Shape;11817;p14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11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9" name="Google Shape;11819;p14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0" name="Google Shape;11820;p14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1" name="Google Shape;11821;p14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2" name="Google Shape;11822;p14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23" name="Google Shape;11823;p14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4" name="Google Shape;11824;p14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25" name="Google Shape;11825;p14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26" name="Google Shape;11826;p14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27" name="Google Shape;11827;p14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28" name="Google Shape;11828;p14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29" name="Google Shape;11829;p14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30" name="Google Shape;11830;p14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1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2" name="Google Shape;11832;p9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3" name="Google Shape;11833;p9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4" name="Google Shape;11834;p9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5" name="Google Shape;11835;p9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6" name="Google Shape;11836;p9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7" name="Google Shape;11837;p9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8" name="Google Shape;11838;p9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39" name="Google Shape;11839;p9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40" name="Google Shape;11840;p9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41" name="Google Shape;11841;p9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42" name="Google Shape;11842;p9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43" name="Google Shape;11843;p9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p14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6" name="Google Shape;11846;p14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7" name="Google Shape;11847;p14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8" name="Google Shape;11848;p14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9" name="Google Shape;11849;p14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0" name="Google Shape;11850;p14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51" name="Google Shape;11851;p14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2" name="Google Shape;11852;p14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3" name="Google Shape;11853;p14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54" name="Google Shape;11854;p14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55" name="Google Shape;11855;p14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56" name="Google Shape;11856;p14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p14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59" name="Google Shape;11859;p14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p14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1" name="Google Shape;11861;p1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62" name="Google Shape;11862;p1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63" name="Google Shape;11863;p1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64" name="Google Shape;11864;p14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65" name="Google Shape;11865;p1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6" name="Google Shape;11866;p14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7" name="Google Shape;11867;p1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68" name="Google Shape;11868;p1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69" name="Google Shape;11869;p14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5" name="Google Shape;11875;p67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11876" name="Google Shape;11876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77" name="Google Shape;11877;p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878" name="Google Shape;11878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9" name="Google Shape;11879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80" name="Google Shape;11880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81" name="Google Shape;11881;p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82" name="Google Shape;11882;p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83" name="Google Shape;11883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84" name="Google Shape;11884;p6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6" name="Google Shape;11886;p112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887" name="Google Shape;11887;p112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1888" name="Google Shape;11888;p11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0" name="Google Shape;11890;p112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891" name="Google Shape;11891;p112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1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3" name="Google Shape;11893;p112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4" name="Google Shape;11894;p112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95" name="Google Shape;11895;p112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1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7" name="Google Shape;11897;p112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8" name="Google Shape;11898;p112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899" name="Google Shape;11899;p112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0" name="Google Shape;11900;p112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1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2" name="Google Shape;11902;p11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903" name="Google Shape;11903;p113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1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5" name="Google Shape;11905;p113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906" name="Google Shape;11906;p113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7" name="Google Shape;11907;p113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9" name="Google Shape;11909;p113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1910" name="Google Shape;11910;p11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1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2" name="Google Shape;11912;p1133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33"/>
              <a:buFont typeface="Arial"/>
              <a:buNone/>
            </a:pPr>
            <a:endParaRPr sz="25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3" name="Google Shape;11913;p1133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1914" name="Google Shape;11914;p1133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1915" name="Google Shape;11915;p1133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16" name="Google Shape;11916;p113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1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8" name="Google Shape;11918;p1134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1919" name="Google Shape;11919;p113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1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1" name="Google Shape;11921;p1135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922" name="Google Shape;11922;p1135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23" name="Google Shape;11923;p113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5" name="Google Shape;11925;p113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76273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2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2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529909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124597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054201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53967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5908924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496730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8663874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8977494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183470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12806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2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21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2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21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1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1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1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2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9878974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250894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376408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48460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69832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1030571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0896272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90366374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500568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427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2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2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2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2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2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2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2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2344193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5144122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015732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67110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920626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5093619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6428173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8215367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8680304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484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2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2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2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7674769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95975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082594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691220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7882487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922080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54172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8551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1478961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97332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70330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3389247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6529176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33455870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19389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5139207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782626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4220045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03616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90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2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2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2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55981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737702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16350041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7570421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8759244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0750279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443197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1811000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150549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34910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2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2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2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2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9428836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25373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31796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9648530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9513238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1287488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451303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262047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9067655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34237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22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22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22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2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22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22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15412647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065359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146517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407993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95306445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9228368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9266547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12033230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098461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22985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22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22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2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22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22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22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847826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7345101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4832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9331607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9897487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75454196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601979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015016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8345833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732407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22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22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22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22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22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22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58059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86810154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4850625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37206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28065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68632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2857467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1601183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0475131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7857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2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260547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1152544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237260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771319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026759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18104991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997431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678330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779236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74233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2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0654120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3158206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7572869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312035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3076225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682452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29192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409644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6086406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702761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2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2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449976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30300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0338407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60105788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7644200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2728419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60526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9095747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865858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8685796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2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2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2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2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91361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312824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90547514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7656894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5020104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4850343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38760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7725924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4785603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84307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3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3618370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2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5003667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758903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44837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21594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354558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84807223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458419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25167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2757949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2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2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2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2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2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2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2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2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00463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368248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081966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88397586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52258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1029579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954922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548664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37643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61967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963876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77239861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2601927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53786"/>
      </p:ext>
    </p:extLst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149437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99034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018864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41808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086427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94227837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355348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769610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24060595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21594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22495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73594"/>
      </p:ext>
    </p:extLst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63640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810317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34310496"/>
      </p:ext>
    </p:extLst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74602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964920"/>
      </p:ext>
    </p:extLst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98824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58509506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243711"/>
      </p:ext>
    </p:extLst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891620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84286716"/>
      </p:ext>
    </p:extLst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81051"/>
      </p:ext>
    </p:extLst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015910"/>
      </p:ext>
    </p:extLst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0603760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6052383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6520399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60339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26515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870405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5525830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1719537"/>
      </p:ext>
    </p:extLst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9456336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81937852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9461530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07856372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1530554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17448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536062847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857908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79558"/>
      </p:ext>
    </p:extLst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900573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37313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900638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99715103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725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2/12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1700345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2/12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9005421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3072413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867560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163589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4740627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093540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463240"/>
      </p:ext>
    </p:extLst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91977"/>
      </p:ext>
    </p:extLst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8463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4960901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42741506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9061543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26721667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94046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568858"/>
      </p:ext>
    </p:extLst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6_Divider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784599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" name="Google Shape;2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" name="Google Shape;2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" name="Google Shape;2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1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1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1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1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1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1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12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12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12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12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1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1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1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1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1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12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1231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1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1232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1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1232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1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12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123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123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99" name="Google Shape;269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0" name="Google Shape;2700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01" name="Google Shape;270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02" name="Google Shape;270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3" name="Google Shape;270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04" name="Google Shape;2704;p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5" name="Google Shape;2705;p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6" name="Google Shape;270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07" name="Google Shape;270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08" name="Google Shape;270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0" name="Google Shape;2710;p4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1" name="Google Shape;2711;p4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2" name="Google Shape;2712;p4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3" name="Google Shape;2713;p4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14" name="Google Shape;2714;p4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15" name="Google Shape;2715;p4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6" name="Google Shape;2716;p4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17" name="Google Shape;2717;p4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9" name="Google Shape;2719;p4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20" name="Google Shape;2720;p4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1" name="Google Shape;2721;p4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2" name="Google Shape;2722;p4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23" name="Google Shape;2723;p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24" name="Google Shape;2724;p4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5" name="Google Shape;2725;p4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2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7" name="Google Shape;2727;p4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28" name="Google Shape;2728;p4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9" name="Google Shape;2729;p4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30" name="Google Shape;2730;p4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1" name="Google Shape;2731;p4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32" name="Google Shape;2732;p4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733" name="Google Shape;2733;p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2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5" name="Google Shape;2735;p4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6" name="Google Shape;2736;p4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7" name="Google Shape;2737;p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8" name="Google Shape;2738;p4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9" name="Google Shape;2739;p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0" name="Google Shape;2740;p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1" name="Google Shape;2741;p4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42" name="Google Shape;2742;p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3" name="Google Shape;2743;p4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44" name="Google Shape;2744;p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5" name="Google Shape;2745;p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46" name="Google Shape;2746;p4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8" name="Google Shape;2748;p4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9" name="Google Shape;2749;p4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750" name="Google Shape;2750;p4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51" name="Google Shape;2751;p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52" name="Google Shape;2752;p4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53" name="Google Shape;2753;p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4" name="Google Shape;2754;p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55" name="Google Shape;2755;p48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6" name="Google Shape;2756;p48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57" name="Google Shape;2757;p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58" name="Google Shape;2758;p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0" name="Google Shape;2760;p4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61" name="Google Shape;2761;p4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2" name="Google Shape;2762;p4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63" name="Google Shape;2763;p4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4" name="Google Shape;2764;p4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65" name="Google Shape;2765;p4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6" name="Google Shape;2766;p4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7" name="Google Shape;2767;p4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8" name="Google Shape;2768;p4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9" name="Google Shape;2769;p4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0" name="Google Shape;2770;p4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1" name="Google Shape;2771;p4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2" name="Google Shape;2772;p4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1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1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1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1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1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1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1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1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4" name="Google Shape;2774;p4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75" name="Google Shape;2775;p4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6" name="Google Shape;2776;p4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77" name="Google Shape;2777;p4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8" name="Google Shape;2778;p4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79" name="Google Shape;2779;p4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0" name="Google Shape;2780;p4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1" name="Google Shape;2781;p4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2" name="Google Shape;2782;p4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4" name="Google Shape;2784;p48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85" name="Google Shape;2785;p48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6" name="Google Shape;2786;p48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87" name="Google Shape;2787;p48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8" name="Google Shape;2788;p48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9" name="Google Shape;2789;p48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90" name="Google Shape;2790;p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91" name="Google Shape;2791;p4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3" name="Google Shape;2793;p4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4" name="Google Shape;2794;p4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5" name="Google Shape;2795;p4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96" name="Google Shape;2796;p4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7" name="Google Shape;2797;p4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98" name="Google Shape;2798;p4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99" name="Google Shape;2799;p4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0" name="Google Shape;2800;p4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2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2" name="Google Shape;2802;p4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3" name="Google Shape;2803;p4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4" name="Google Shape;2804;p4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5" name="Google Shape;2805;p4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06" name="Google Shape;2806;p4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07" name="Google Shape;2807;p4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08" name="Google Shape;2808;p4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9" name="Google Shape;2809;p4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0" name="Google Shape;2810;p4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1" name="Google Shape;2811;p4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2" name="Google Shape;2812;p4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13" name="Google Shape;2813;p4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2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5" name="Google Shape;2815;p4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6" name="Google Shape;2816;p4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7" name="Google Shape;2817;p4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18" name="Google Shape;2818;p4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19" name="Google Shape;2819;p4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20" name="Google Shape;2820;p4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1" name="Google Shape;2821;p4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2" name="Google Shape;2822;p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2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4" name="Google Shape;2824;p4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825" name="Google Shape;2825;p4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6" name="Google Shape;2826;p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7" name="Google Shape;2827;p4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8" name="Google Shape;2828;p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9" name="Google Shape;2829;p4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0" name="Google Shape;2830;p4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2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2" name="Google Shape;2832;p4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33" name="Google Shape;2833;p4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834" name="Google Shape;2834;p4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835" name="Google Shape;2835;p4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6" name="Google Shape;2836;p4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37" name="Google Shape;2837;p4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838" name="Google Shape;2838;p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2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0" name="Google Shape;2840;p4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1" name="Google Shape;2841;p4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2" name="Google Shape;2842;p4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3" name="Google Shape;2843;p4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4" name="Google Shape;2844;p4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45" name="Google Shape;2845;p4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46" name="Google Shape;2846;p4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47" name="Google Shape;2847;p4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8" name="Google Shape;2848;p4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49" name="Google Shape;2849;p4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0" name="Google Shape;2850;p4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51" name="Google Shape;2851;p4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2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3" name="Google Shape;2853;p4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4" name="Google Shape;2854;p4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5" name="Google Shape;2855;p4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6" name="Google Shape;2856;p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7" name="Google Shape;2857;p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8" name="Google Shape;2858;p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59" name="Google Shape;2859;p4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0" name="Google Shape;2860;p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1" name="Google Shape;2861;p4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2" name="Google Shape;2862;p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3" name="Google Shape;2863;p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64" name="Google Shape;2864;p4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2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6" name="Google Shape;2866;p4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7" name="Google Shape;2867;p4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8" name="Google Shape;2868;p4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9" name="Google Shape;2869;p4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0" name="Google Shape;2870;p4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71" name="Google Shape;2871;p4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2" name="Google Shape;2872;p4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3" name="Google Shape;2873;p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4" name="Google Shape;2874;p4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5" name="Google Shape;2875;p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2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" name="Google Shape;2877;p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8" name="Google Shape;2878;p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79" name="Google Shape;2879;p4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80" name="Google Shape;2880;p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1" name="Google Shape;2881;p4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82" name="Google Shape;2882;p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3" name="Google Shape;2883;p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84" name="Google Shape;2884;p4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5" name="Google Shape;2885;p4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86" name="Google Shape;2886;p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7" name="Google Shape;2887;p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89" name="Google Shape;2889;p4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90" name="Google Shape;2890;p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1" name="Google Shape;2891;p4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92" name="Google Shape;2892;p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3" name="Google Shape;2893;p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94" name="Google Shape;2894;p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5" name="Google Shape;2895;p4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6" name="Google Shape;2896;p4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7" name="Google Shape;2897;p4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8" name="Google Shape;2898;p4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9" name="Google Shape;2899;p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0" name="Google Shape;2900;p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1" name="Google Shape;2901;p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2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3" name="Google Shape;2903;p4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04" name="Google Shape;2904;p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5" name="Google Shape;2905;p4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06" name="Google Shape;2906;p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7" name="Google Shape;2907;p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08" name="Google Shape;2908;p4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9" name="Google Shape;2909;p4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0" name="Google Shape;2910;p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1" name="Google Shape;2911;p4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2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3" name="Google Shape;2913;p4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914" name="Google Shape;2914;p4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5" name="Google Shape;2915;p4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16" name="Google Shape;2916;p4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7" name="Google Shape;2917;p4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8" name="Google Shape;2918;p4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919" name="Google Shape;2919;p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920" name="Google Shape;2920;p4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2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2" name="Google Shape;2922;p4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23" name="Google Shape;2923;p4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24" name="Google Shape;2924;p4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5" name="Google Shape;2925;p4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6" name="Google Shape;2926;p4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7" name="Google Shape;2927;p4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28" name="Google Shape;2928;p4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9" name="Google Shape;2929;p4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2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1" name="Google Shape;2931;p4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2" name="Google Shape;2932;p4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3" name="Google Shape;2933;p4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34" name="Google Shape;2934;p4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35" name="Google Shape;2935;p4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36" name="Google Shape;2936;p4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7" name="Google Shape;2937;p4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38" name="Google Shape;2938;p4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2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0" name="Google Shape;2940;p4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1" name="Google Shape;2941;p4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2" name="Google Shape;2942;p4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3" name="Google Shape;2943;p4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4" name="Google Shape;2944;p4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45" name="Google Shape;2945;p4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6" name="Google Shape;2946;p4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8" name="Google Shape;2948;p4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9" name="Google Shape;2949;p4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0" name="Google Shape;2950;p4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1" name="Google Shape;2951;p4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52" name="Google Shape;2952;p4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3" name="Google Shape;2953;p4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54" name="Google Shape;2954;p4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55" name="Google Shape;2955;p4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6" name="Google Shape;2956;p4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57" name="Google Shape;2957;p4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8" name="Google Shape;2958;p4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59" name="Google Shape;2959;p4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2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1" name="Google Shape;2961;p5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62" name="Google Shape;2962;p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63" name="Google Shape;2963;p5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4" name="Google Shape;2964;p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5" name="Google Shape;2965;p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66" name="Google Shape;2966;p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7" name="Google Shape;2967;p5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8" name="Google Shape;2968;p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9" name="Google Shape;2969;p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70" name="Google Shape;2970;p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2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2" name="Google Shape;2972;p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3" name="Google Shape;2973;p5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74" name="Google Shape;2974;p5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75" name="Google Shape;2975;p5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6" name="Google Shape;2976;p5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77" name="Google Shape;2977;p5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8" name="Google Shape;2978;p5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79" name="Google Shape;2979;p50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0" name="Google Shape;2980;p50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81" name="Google Shape;2981;p5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2" name="Google Shape;2982;p5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" name="Google Shape;33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" name="Google Shape;34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" name="Google Shape;35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2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4" name="Google Shape;2984;p5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85" name="Google Shape;2985;p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86" name="Google Shape;2986;p5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87" name="Google Shape;2987;p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8" name="Google Shape;2988;p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9" name="Google Shape;2989;p5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0" name="Google Shape;2990;p50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1" name="Google Shape;2991;p50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2" name="Google Shape;2992;p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3" name="Google Shape;2993;p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4" name="Google Shape;2994;p5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95" name="Google Shape;2995;p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96" name="Google Shape;2996;p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2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8" name="Google Shape;2998;p50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999" name="Google Shape;2999;p5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00" name="Google Shape;3000;p50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01" name="Google Shape;3001;p5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2" name="Google Shape;3002;p5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3" name="Google Shape;3003;p5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04" name="Google Shape;3004;p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3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6" name="Google Shape;3006;p5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07" name="Google Shape;3007;p5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8" name="Google Shape;3008;p5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9" name="Google Shape;3009;p5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0" name="Google Shape;3010;p5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1" name="Google Shape;3011;p5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12" name="Google Shape;3012;p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13" name="Google Shape;3013;p5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3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" name="Google Shape;3015;p5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6" name="Google Shape;3016;p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7" name="Google Shape;3017;p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8" name="Google Shape;3018;p5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19" name="Google Shape;3019;p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0" name="Google Shape;3020;p5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1" name="Google Shape;3021;p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2" name="Google Shape;3022;p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3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4" name="Google Shape;3024;p5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25" name="Google Shape;3025;p5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6" name="Google Shape;3026;p5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7" name="Google Shape;3027;p5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8" name="Google Shape;3028;p5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29" name="Google Shape;3029;p5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0" name="Google Shape;3030;p5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1" name="Google Shape;3031;p5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2" name="Google Shape;3032;p5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3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4" name="Google Shape;3034;p50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5" name="Google Shape;3035;p50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6" name="Google Shape;3036;p50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37" name="Google Shape;3037;p5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38" name="Google Shape;3038;p50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39" name="Google Shape;3039;p50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0" name="Google Shape;3040;p50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1" name="Google Shape;3041;p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3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3" name="Google Shape;3043;p5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44" name="Google Shape;3044;p5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5" name="Google Shape;3045;p5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6" name="Google Shape;3046;p5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7" name="Google Shape;3047;p5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48" name="Google Shape;3048;p5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9" name="Google Shape;3049;p5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3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" name="Google Shape;3051;p5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52" name="Google Shape;3052;p5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53" name="Google Shape;3053;p5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4" name="Google Shape;3054;p5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5" name="Google Shape;3055;p5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56" name="Google Shape;3056;p5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57" name="Google Shape;3057;p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3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9" name="Google Shape;3059;p5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0" name="Google Shape;3060;p5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1" name="Google Shape;3061;p5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62" name="Google Shape;3062;p5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3" name="Google Shape;3063;p5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4" name="Google Shape;3064;p5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65" name="Google Shape;3065;p5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66" name="Google Shape;3066;p5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7" name="Google Shape;3067;p5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68" name="Google Shape;3068;p5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9" name="Google Shape;3069;p5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70" name="Google Shape;3070;p5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3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" name="Google Shape;3072;p5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3" name="Google Shape;3073;p5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4" name="Google Shape;3074;p5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5" name="Google Shape;3075;p5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6" name="Google Shape;3076;p5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7" name="Google Shape;3077;p5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78" name="Google Shape;3078;p5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79" name="Google Shape;3079;p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0" name="Google Shape;3080;p5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1" name="Google Shape;3081;p5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2" name="Google Shape;3082;p5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83" name="Google Shape;3083;p5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3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5" name="Google Shape;3085;p5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86" name="Google Shape;3086;p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7" name="Google Shape;3087;p5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8" name="Google Shape;3088;p5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9" name="Google Shape;3089;p5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90" name="Google Shape;3090;p5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1" name="Google Shape;3091;p5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2" name="Google Shape;3092;p5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93" name="Google Shape;3093;p5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94" name="Google Shape;3094;p5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3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6" name="Google Shape;3096;p5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7" name="Google Shape;3097;p5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098" name="Google Shape;3098;p5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9" name="Google Shape;3099;p5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0" name="Google Shape;3100;p5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01" name="Google Shape;3101;p5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2" name="Google Shape;3102;p5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03" name="Google Shape;3103;p5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4" name="Google Shape;3104;p5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05" name="Google Shape;3105;p5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06" name="Google Shape;3106;p5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3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08" name="Google Shape;3108;p5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09" name="Google Shape;3109;p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10" name="Google Shape;3110;p5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1" name="Google Shape;3111;p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2" name="Google Shape;3112;p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13" name="Google Shape;3113;p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4" name="Google Shape;3114;p5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5" name="Google Shape;3115;p5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6" name="Google Shape;3116;p5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7" name="Google Shape;3117;p5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8" name="Google Shape;3118;p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19" name="Google Shape;3119;p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0" name="Google Shape;3120;p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3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22" name="Google Shape;3122;p5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3" name="Google Shape;3123;p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4" name="Google Shape;3124;p5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25" name="Google Shape;3125;p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6" name="Google Shape;3126;p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27" name="Google Shape;3127;p5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8" name="Google Shape;3128;p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9" name="Google Shape;3129;p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30" name="Google Shape;3130;p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3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32" name="Google Shape;3132;p5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133" name="Google Shape;3133;p5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4" name="Google Shape;3134;p5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35" name="Google Shape;3135;p51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6" name="Google Shape;3136;p51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7" name="Google Shape;3137;p5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38" name="Google Shape;3138;p5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39" name="Google Shape;3139;p5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3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1" name="Google Shape;3141;p5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2" name="Google Shape;3142;p5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3" name="Google Shape;3143;p5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4" name="Google Shape;3144;p5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45" name="Google Shape;3145;p5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46" name="Google Shape;3146;p5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7" name="Google Shape;3147;p5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8" name="Google Shape;3148;p5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Google Shape;3150;p51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1" name="Google Shape;3151;p51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3152" name="Google Shape;3152;p51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153" name="Google Shape;3153;p51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4" name="Google Shape;3154;p51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155" name="Google Shape;3155;p5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3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7" name="Google Shape;3157;p51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58" name="Google Shape;3158;p51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9" name="Google Shape;3159;p5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0" name="Google Shape;3160;p51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61" name="Google Shape;3161;p5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62" name="Google Shape;3162;p51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3" name="Google Shape;3163;p51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3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5" name="Google Shape;3165;p52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66" name="Google Shape;3166;p52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67" name="Google Shape;3167;p52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68" name="Google Shape;3168;p5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9" name="Google Shape;3169;p5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70" name="Google Shape;3170;p5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171" name="Google Shape;3171;p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3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3" name="Google Shape;3173;p5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4" name="Google Shape;3174;p5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5" name="Google Shape;3175;p5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76" name="Google Shape;3176;p5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77" name="Google Shape;3177;p5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78" name="Google Shape;3178;p5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9" name="Google Shape;3179;p5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0" name="Google Shape;3180;p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3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2" name="Google Shape;3182;p5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83" name="Google Shape;3183;p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4" name="Google Shape;3184;p5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5" name="Google Shape;3185;p5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6" name="Google Shape;3186;p5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87" name="Google Shape;3187;p5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8" name="Google Shape;3188;p5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9" name="Google Shape;3189;p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0" name="Google Shape;3190;p5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1" name="Google Shape;3191;p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3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3" name="Google Shape;3193;p5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4" name="Google Shape;3194;p5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95" name="Google Shape;3195;p5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96" name="Google Shape;3196;p5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7" name="Google Shape;3197;p5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8" name="Google Shape;3198;p5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9" name="Google Shape;3199;p5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00" name="Google Shape;3200;p5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1" name="Google Shape;3201;p5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02" name="Google Shape;3202;p5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3" name="Google Shape;3203;p5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3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05" name="Google Shape;3205;p5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06" name="Google Shape;3206;p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07" name="Google Shape;3207;p5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08" name="Google Shape;3208;p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9" name="Google Shape;3209;p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10" name="Google Shape;3210;p5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1" name="Google Shape;3211;p5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2" name="Google Shape;3212;p5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3" name="Google Shape;3213;p5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4" name="Google Shape;3214;p5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5" name="Google Shape;3215;p5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6" name="Google Shape;3216;p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7" name="Google Shape;3217;p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9" name="Google Shape;3219;p5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0" name="Google Shape;3220;p5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1" name="Google Shape;3221;p5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2" name="Google Shape;3222;p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23" name="Google Shape;3223;p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24" name="Google Shape;3224;p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25" name="Google Shape;3225;p5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6" name="Google Shape;3226;p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27" name="Google Shape;3227;p5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28" name="Google Shape;3228;p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9" name="Google Shape;3229;p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30" name="Google Shape;3230;p5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3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2" name="Google Shape;3232;p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33" name="Google Shape;3233;p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4" name="Google Shape;3234;p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35" name="Google Shape;3235;p5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6" name="Google Shape;3236;p5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7" name="Google Shape;3237;p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38" name="Google Shape;3238;p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39" name="Google Shape;3239;p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3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1" name="Google Shape;3241;p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42" name="Google Shape;3242;p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3" name="Google Shape;3243;p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4" name="Google Shape;3244;p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5" name="Google Shape;3245;p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46" name="Google Shape;3246;p5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7" name="Google Shape;3247;p5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48" name="Google Shape;3248;p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9" name="Google Shape;3249;p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3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" name="Google Shape;3251;p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2" name="Google Shape;3252;p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3" name="Google Shape;3253;p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4" name="Google Shape;3254;p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55" name="Google Shape;3255;p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6" name="Google Shape;3256;p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57" name="Google Shape;3257;p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8" name="Google Shape;3258;p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3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" name="Google Shape;3260;p5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1" name="Google Shape;3261;p5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2" name="Google Shape;3262;p5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3" name="Google Shape;3263;p5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4" name="Google Shape;3264;p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5" name="Google Shape;3265;p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66" name="Google Shape;3266;p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7" name="Google Shape;3267;p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8" name="Google Shape;3268;p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69" name="Google Shape;3269;p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0" name="Google Shape;3270;p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71" name="Google Shape;3271;p5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3" name="Google Shape;3273;p5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4" name="Google Shape;3274;p5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5" name="Google Shape;3275;p5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6" name="Google Shape;3276;p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77" name="Google Shape;3277;p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78" name="Google Shape;3278;p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9" name="Google Shape;3279;p5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0" name="Google Shape;3280;p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81" name="Google Shape;3281;p5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2" name="Google Shape;3282;p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3" name="Google Shape;3283;p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84" name="Google Shape;3284;p53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3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" name="Google Shape;3286;p53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7" name="Google Shape;3287;p53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8" name="Google Shape;3288;p53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89" name="Google Shape;3289;p5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90" name="Google Shape;3290;p53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291" name="Google Shape;3291;p5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2" name="Google Shape;3292;p53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3" name="Google Shape;3293;p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11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11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11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1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11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11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1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1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3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5" name="Google Shape;3295;p5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296" name="Google Shape;3296;p5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7" name="Google Shape;3297;p5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8" name="Google Shape;3298;p5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9" name="Google Shape;3299;p5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00" name="Google Shape;3300;p5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1" name="Google Shape;3301;p5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3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3" name="Google Shape;3303;p5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04" name="Google Shape;3304;p5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05" name="Google Shape;3305;p5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06" name="Google Shape;3306;p5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7" name="Google Shape;3307;p5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08" name="Google Shape;3308;p5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309" name="Google Shape;3309;p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p5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2" name="Google Shape;3312;p5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3" name="Google Shape;3313;p5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4" name="Google Shape;3314;p5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15" name="Google Shape;3315;p5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16" name="Google Shape;3316;p5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17" name="Google Shape;3317;p5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18" name="Google Shape;3318;p5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19" name="Google Shape;3319;p5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0" name="Google Shape;3320;p5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1" name="Google Shape;3321;p5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2" name="Google Shape;3322;p5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3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4" name="Google Shape;3324;p5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25" name="Google Shape;3325;p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26" name="Google Shape;3326;p5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7" name="Google Shape;3327;p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8" name="Google Shape;3328;p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29" name="Google Shape;3329;p5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0" name="Google Shape;3330;p5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1" name="Google Shape;3331;p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32" name="Google Shape;3332;p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3" name="Google Shape;3333;p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Google Shape;3335;p5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6" name="Google Shape;3336;p5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337" name="Google Shape;3337;p5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38" name="Google Shape;3338;p5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39" name="Google Shape;3339;p5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40" name="Google Shape;3340;p5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1" name="Google Shape;3341;p5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42" name="Google Shape;3342;p5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3" name="Google Shape;3343;p5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44" name="Google Shape;3344;p5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45" name="Google Shape;3345;p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3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47" name="Google Shape;3347;p5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48" name="Google Shape;3348;p5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49" name="Google Shape;3349;p5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50" name="Google Shape;3350;p5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1" name="Google Shape;3351;p5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52" name="Google Shape;3352;p5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3" name="Google Shape;3353;p5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4" name="Google Shape;3354;p5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5" name="Google Shape;3355;p5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6" name="Google Shape;3356;p5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7" name="Google Shape;3357;p5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58" name="Google Shape;3358;p5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9" name="Google Shape;3359;p5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3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1" name="Google Shape;3361;p5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2" name="Google Shape;3362;p5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63" name="Google Shape;3363;p5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64" name="Google Shape;3364;p5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5" name="Google Shape;3365;p5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66" name="Google Shape;3366;p5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7" name="Google Shape;3367;p5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68" name="Google Shape;3368;p5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69" name="Google Shape;3369;p5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3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1" name="Google Shape;3371;p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372" name="Google Shape;3372;p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3" name="Google Shape;3373;p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74" name="Google Shape;3374;p5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5" name="Google Shape;3375;p5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6" name="Google Shape;3376;p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77" name="Google Shape;3377;p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78" name="Google Shape;3378;p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3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" name="Google Shape;3380;p5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1" name="Google Shape;3381;p5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82" name="Google Shape;3382;p5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83" name="Google Shape;3383;p5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84" name="Google Shape;3384;p5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85" name="Google Shape;3385;p5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6" name="Google Shape;3386;p5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7" name="Google Shape;3387;p5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3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" name="Google Shape;3389;p5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p5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1" name="Google Shape;3391;p5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392" name="Google Shape;3392;p5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393" name="Google Shape;3393;p5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394" name="Google Shape;3394;p5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5" name="Google Shape;3395;p5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96" name="Google Shape;3396;p5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3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8" name="Google Shape;3398;p5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399" name="Google Shape;3399;p5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0" name="Google Shape;3400;p5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1" name="Google Shape;3401;p5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402" name="Google Shape;3402;p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03" name="Google Shape;3403;p5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4" name="Google Shape;3404;p5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3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6" name="Google Shape;3406;p5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407" name="Google Shape;3407;p5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408" name="Google Shape;3408;p5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409" name="Google Shape;3409;p5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0" name="Google Shape;3410;p5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11" name="Google Shape;3411;p5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2" name="Google Shape;3412;p5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3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4" name="Google Shape;3414;p5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5" name="Google Shape;3415;p5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6" name="Google Shape;3416;p5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7" name="Google Shape;3417;p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18" name="Google Shape;3418;p5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19" name="Google Shape;3419;p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20" name="Google Shape;3420;p5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1" name="Google Shape;3421;p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2" name="Google Shape;3422;p5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23" name="Google Shape;3423;p5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24" name="Google Shape;3424;p5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25" name="Google Shape;3425;p5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3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27" name="Google Shape;3427;p5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8" name="Google Shape;3428;p5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9" name="Google Shape;3429;p5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0" name="Google Shape;3430;p5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1" name="Google Shape;3431;p5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32" name="Google Shape;3432;p5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3" name="Google Shape;3433;p5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4" name="Google Shape;3434;p5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35" name="Google Shape;3435;p5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36" name="Google Shape;3436;p5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3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8" name="Google Shape;3438;p5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9" name="Google Shape;3439;p5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40" name="Google Shape;3440;p5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41" name="Google Shape;3441;p5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42" name="Google Shape;3442;p5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43" name="Google Shape;3443;p5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4" name="Google Shape;3444;p5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45" name="Google Shape;3445;p5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6" name="Google Shape;3446;p5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47" name="Google Shape;3447;p5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48" name="Google Shape;3448;p5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3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0" name="Google Shape;3450;p5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51" name="Google Shape;3451;p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2" name="Google Shape;3452;p5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53" name="Google Shape;3453;p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4" name="Google Shape;3454;p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55" name="Google Shape;3455;p5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6" name="Google Shape;3456;p5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7" name="Google Shape;3457;p5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8" name="Google Shape;3458;p5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9" name="Google Shape;3459;p5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0" name="Google Shape;3460;p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1" name="Google Shape;3461;p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62" name="Google Shape;3462;p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3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64" name="Google Shape;3464;p5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65" name="Google Shape;3465;p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66" name="Google Shape;3466;p5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67" name="Google Shape;3467;p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8" name="Google Shape;3468;p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69" name="Google Shape;3469;p5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0" name="Google Shape;3470;p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71" name="Google Shape;3471;p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2" name="Google Shape;3472;p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3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4" name="Google Shape;3474;p54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75" name="Google Shape;3475;p54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6" name="Google Shape;3476;p54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77" name="Google Shape;3477;p54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8" name="Google Shape;3478;p54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9" name="Google Shape;3479;p54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80" name="Google Shape;3480;p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481" name="Google Shape;3481;p5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3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3" name="Google Shape;3483;p5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84" name="Google Shape;3484;p5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85" name="Google Shape;3485;p5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86" name="Google Shape;3486;p5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87" name="Google Shape;3487;p5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88" name="Google Shape;3488;p5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89" name="Google Shape;3489;p5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0" name="Google Shape;3490;p5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3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2" name="Google Shape;3492;p5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3" name="Google Shape;3493;p5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4" name="Google Shape;3494;p5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5" name="Google Shape;3495;p5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96" name="Google Shape;3496;p5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97" name="Google Shape;3497;p5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98" name="Google Shape;3498;p5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99" name="Google Shape;3499;p5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00" name="Google Shape;3500;p5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01" name="Google Shape;3501;p5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2" name="Google Shape;3502;p5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03" name="Google Shape;3503;p5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3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5" name="Google Shape;3505;p5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6" name="Google Shape;3506;p5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7" name="Google Shape;3507;p5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8" name="Google Shape;3508;p5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09" name="Google Shape;3509;p5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10" name="Google Shape;3510;p5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1" name="Google Shape;3511;p5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2" name="Google Shape;3512;p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3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14" name="Google Shape;3514;p5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15" name="Google Shape;3515;p5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6" name="Google Shape;3516;p5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7" name="Google Shape;3517;p5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8" name="Google Shape;3518;p5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19" name="Google Shape;3519;p5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0" name="Google Shape;3520;p5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3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" name="Google Shape;3522;p5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23" name="Google Shape;3523;p5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24" name="Google Shape;3524;p5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25" name="Google Shape;3525;p5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6" name="Google Shape;3526;p5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27" name="Google Shape;3527;p5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528" name="Google Shape;3528;p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3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0" name="Google Shape;3530;p5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1" name="Google Shape;3531;p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2" name="Google Shape;3532;p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3" name="Google Shape;3533;p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4" name="Google Shape;3534;p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5" name="Google Shape;3535;p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6" name="Google Shape;3536;p5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37" name="Google Shape;3537;p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38" name="Google Shape;3538;p5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39" name="Google Shape;3539;p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0" name="Google Shape;3540;p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41" name="Google Shape;3541;p5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3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43" name="Google Shape;3543;p5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44" name="Google Shape;3544;p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5" name="Google Shape;3545;p5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46" name="Google Shape;3546;p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7" name="Google Shape;3547;p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8" name="Google Shape;3548;p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9" name="Google Shape;3549;p5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0" name="Google Shape;3550;p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51" name="Google Shape;3551;p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52" name="Google Shape;3552;p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3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4" name="Google Shape;3554;p5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5" name="Google Shape;3555;p5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556" name="Google Shape;3556;p5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57" name="Google Shape;3557;p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8" name="Google Shape;3558;p5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59" name="Google Shape;3559;p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0" name="Google Shape;3560;p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61" name="Google Shape;3561;p5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2" name="Google Shape;3562;p5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3" name="Google Shape;3563;p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64" name="Google Shape;3564;p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3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6" name="Google Shape;3566;p5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7" name="Google Shape;3567;p5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68" name="Google Shape;3568;p5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69" name="Google Shape;3569;p5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0" name="Google Shape;3570;p5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71" name="Google Shape;3571;p5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2" name="Google Shape;3572;p5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3" name="Google Shape;3573;p5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4" name="Google Shape;3574;p5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5" name="Google Shape;3575;p5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6" name="Google Shape;3576;p5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7" name="Google Shape;3577;p5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8" name="Google Shape;3578;p5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3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0" name="Google Shape;3580;p5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81" name="Google Shape;3581;p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82" name="Google Shape;3582;p5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3" name="Google Shape;3583;p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4" name="Google Shape;3584;p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5" name="Google Shape;3585;p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6" name="Google Shape;3586;p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87" name="Google Shape;3587;p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8" name="Google Shape;3588;p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3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0" name="Google Shape;3590;p5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591" name="Google Shape;3591;p5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2" name="Google Shape;3592;p5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93" name="Google Shape;3593;p5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4" name="Google Shape;3594;p5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5" name="Google Shape;3595;p5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96" name="Google Shape;3596;p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97" name="Google Shape;3597;p5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" name="Google Shape;3599;p5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00" name="Google Shape;3600;p5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01" name="Google Shape;3601;p5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02" name="Google Shape;3602;p5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03" name="Google Shape;3603;p5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4" name="Google Shape;3604;p5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05" name="Google Shape;3605;p5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6" name="Google Shape;3606;p5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3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8" name="Google Shape;3608;p5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9" name="Google Shape;3609;p5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0" name="Google Shape;3610;p5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1" name="Google Shape;3611;p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12" name="Google Shape;3612;p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13" name="Google Shape;3613;p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4" name="Google Shape;3614;p5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15" name="Google Shape;3615;p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16" name="Google Shape;3616;p5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17" name="Google Shape;3617;p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18" name="Google Shape;3618;p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19" name="Google Shape;3619;p5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3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1" name="Google Shape;3621;p56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2" name="Google Shape;3622;p5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3" name="Google Shape;3623;p5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24" name="Google Shape;3624;p5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625" name="Google Shape;3625;p5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626" name="Google Shape;3626;p5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7" name="Google Shape;3627;p5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28" name="Google Shape;3628;p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3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0" name="Google Shape;3630;p56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631" name="Google Shape;3631;p5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2" name="Google Shape;3632;p5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3" name="Google Shape;3633;p5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34" name="Google Shape;3634;p5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35" name="Google Shape;3635;p56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6" name="Google Shape;3636;p56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3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8" name="Google Shape;3638;p56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39" name="Google Shape;3639;p56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40" name="Google Shape;3640;p56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41" name="Google Shape;3641;p56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2" name="Google Shape;3642;p56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43" name="Google Shape;3643;p56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644" name="Google Shape;3644;p5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3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6" name="Google Shape;3646;p5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7" name="Google Shape;3647;p5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8" name="Google Shape;3648;p5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9" name="Google Shape;3649;p5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50" name="Google Shape;3650;p5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51" name="Google Shape;3651;p5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52" name="Google Shape;3652;p5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53" name="Google Shape;3653;p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54" name="Google Shape;3654;p5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55" name="Google Shape;3655;p5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6" name="Google Shape;3656;p5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57" name="Google Shape;3657;p5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9" name="Google Shape;3659;p5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0" name="Google Shape;3660;p5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1" name="Google Shape;3661;p5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2" name="Google Shape;3662;p5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63" name="Google Shape;3663;p5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64" name="Google Shape;3664;p5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65" name="Google Shape;3665;p5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66" name="Google Shape;3666;p5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67" name="Google Shape;3667;p5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68" name="Google Shape;3668;p5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69" name="Google Shape;3669;p5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70" name="Google Shape;3670;p5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3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2" name="Google Shape;3672;p5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73" name="Google Shape;3673;p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74" name="Google Shape;3674;p5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75" name="Google Shape;3675;p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6" name="Google Shape;3676;p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77" name="Google Shape;3677;p5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8" name="Google Shape;3678;p56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9" name="Google Shape;3679;p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0" name="Google Shape;3680;p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81" name="Google Shape;3681;p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3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3" name="Google Shape;3683;p5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4" name="Google Shape;3684;p5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685" name="Google Shape;3685;p5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86" name="Google Shape;3686;p5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87" name="Google Shape;3687;p5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88" name="Google Shape;3688;p5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9" name="Google Shape;3689;p5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90" name="Google Shape;3690;p5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91" name="Google Shape;3691;p5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92" name="Google Shape;3692;p5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3" name="Google Shape;3693;p5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3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95" name="Google Shape;3695;p5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96" name="Google Shape;3696;p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97" name="Google Shape;3697;p5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98" name="Google Shape;3698;p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9" name="Google Shape;3699;p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00" name="Google Shape;3700;p5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1" name="Google Shape;3701;p5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2" name="Google Shape;3702;p5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3" name="Google Shape;3703;p5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4" name="Google Shape;3704;p5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5" name="Google Shape;3705;p5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06" name="Google Shape;3706;p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07" name="Google Shape;3707;p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3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09" name="Google Shape;3709;p5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10" name="Google Shape;3710;p5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11" name="Google Shape;3711;p5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12" name="Google Shape;3712;p5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13" name="Google Shape;3713;p5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14" name="Google Shape;3714;p5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5" name="Google Shape;3715;p5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16" name="Google Shape;3716;p5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17" name="Google Shape;3717;p5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3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19" name="Google Shape;3719;p5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720" name="Google Shape;3720;p5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1" name="Google Shape;3721;p5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22" name="Google Shape;3722;p57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3" name="Google Shape;3723;p5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24" name="Google Shape;3724;p5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25" name="Google Shape;3725;p5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726" name="Google Shape;3726;p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3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8" name="Google Shape;3728;p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9" name="Google Shape;3729;p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0" name="Google Shape;3730;p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31" name="Google Shape;3731;p5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32" name="Google Shape;3732;p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33" name="Google Shape;3733;p5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34" name="Google Shape;3734;p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5" name="Google Shape;3735;p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3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" name="Google Shape;3737;p5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8" name="Google Shape;3738;p5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39" name="Google Shape;3739;p5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40" name="Google Shape;3740;p5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41" name="Google Shape;3741;p5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3742" name="Google Shape;3742;p5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3" name="Google Shape;3743;p5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4" name="Google Shape;3744;p5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5" name="Google Shape;3745;p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6" name="Google Shape;3746;p5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47" name="Google Shape;3747;p5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3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9" name="Google Shape;3749;p5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0" name="Google Shape;3750;p5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1" name="Google Shape;3751;p5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2" name="Google Shape;3752;p5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3" name="Google Shape;3753;p5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4" name="Google Shape;3754;p5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55" name="Google Shape;3755;p5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6" name="Google Shape;3756;p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7" name="Google Shape;3757;p5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58" name="Google Shape;3758;p5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59" name="Google Shape;3759;p5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60" name="Google Shape;3760;p5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3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2" name="Google Shape;3762;p5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3" name="Google Shape;3763;p5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4" name="Google Shape;3764;p5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5" name="Google Shape;3765;p5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6" name="Google Shape;3766;p5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67" name="Google Shape;3767;p5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68" name="Google Shape;3768;p5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69" name="Google Shape;3769;p5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70" name="Google Shape;3770;p5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1" name="Google Shape;3771;p5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2" name="Google Shape;3772;p5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73" name="Google Shape;3773;p5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3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5" name="Google Shape;3775;p57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6" name="Google Shape;3776;p57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77" name="Google Shape;3777;p5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8" name="Google Shape;3778;p5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9" name="Google Shape;3779;p5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3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1" name="Google Shape;3781;p5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2" name="Google Shape;3782;p5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3" name="Google Shape;3783;p5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4" name="Google Shape;3784;p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5" name="Google Shape;3785;p5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86" name="Google Shape;3786;p5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7" name="Google Shape;3787;p5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8" name="Google Shape;3788;p5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89" name="Google Shape;3789;p5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3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1" name="Google Shape;3791;p57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2" name="Google Shape;3792;p57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3" name="Google Shape;3793;p57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94" name="Google Shape;3794;p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5" name="Google Shape;3795;p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96" name="Google Shape;3796;p57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7" name="Google Shape;3797;p57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8" name="Google Shape;3798;p57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99" name="Google Shape;3799;p5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3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1" name="Google Shape;3801;p58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2" name="Google Shape;3802;p5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3" name="Google Shape;3803;p5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4" name="Google Shape;3804;p58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05" name="Google Shape;3805;p5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3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7" name="Google Shape;3807;p5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08" name="Google Shape;3808;p5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09" name="Google Shape;3809;p5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0" name="Google Shape;3810;p58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1" name="Google Shape;3811;p58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3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3" name="Google Shape;3813;p58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4" name="Google Shape;3814;p58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5" name="Google Shape;3815;p58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6" name="Google Shape;3816;p58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7" name="Google Shape;3817;p58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18" name="Google Shape;3818;p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3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0" name="Google Shape;3820;p5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1" name="Google Shape;3821;p5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2" name="Google Shape;3822;p5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3" name="Google Shape;3823;p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4" name="Google Shape;3824;p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5" name="Google Shape;3825;p5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6" name="Google Shape;3826;p5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7" name="Google Shape;3827;p5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28" name="Google Shape;3828;p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3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0" name="Google Shape;3830;p5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1" name="Google Shape;3831;p5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2" name="Google Shape;3832;p5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3" name="Google Shape;3833;p5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34" name="Google Shape;3834;p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6" name="Google Shape;3836;p5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37" name="Google Shape;3837;p5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38" name="Google Shape;3838;p5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9" name="Google Shape;3839;p5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0" name="Google Shape;3840;p5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3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2" name="Google Shape;3842;p5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3" name="Google Shape;3843;p5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4" name="Google Shape;3844;p58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5" name="Google Shape;3845;p58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6" name="Google Shape;3846;p58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47" name="Google Shape;3847;p5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3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9" name="Google Shape;3849;p58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0" name="Google Shape;3850;p58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1" name="Google Shape;3851;p5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2" name="Google Shape;3852;p5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3" name="Google Shape;3853;p5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4" name="Google Shape;3854;p58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5" name="Google Shape;3855;p58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6" name="Google Shape;3856;p58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57" name="Google Shape;3857;p5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3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9" name="Google Shape;3859;p58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0" name="Google Shape;3860;p58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1" name="Google Shape;3861;p5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62" name="Google Shape;3862;p5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3" name="Google Shape;3863;p5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64" name="Google Shape;3864;p58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5" name="Google Shape;3865;p58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6" name="Google Shape;3866;p58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67" name="Google Shape;3867;p5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3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9" name="Google Shape;3869;p58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0" name="Google Shape;3870;p58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1" name="Google Shape;3871;p58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2" name="Google Shape;3872;p58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73" name="Google Shape;3873;p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3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5" name="Google Shape;3875;p5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76" name="Google Shape;3876;p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77" name="Google Shape;3877;p5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8" name="Google Shape;3878;p5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9" name="Google Shape;3879;p5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3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" name="Google Shape;3881;p5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2" name="Google Shape;3882;p5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3" name="Google Shape;3883;p5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4" name="Google Shape;3884;p5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5" name="Google Shape;3885;p5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86" name="Google Shape;3886;p5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59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9" name="Google Shape;3889;p59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0" name="Google Shape;3890;p5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1" name="Google Shape;3891;p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2" name="Google Shape;3892;p5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93" name="Google Shape;3893;p59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4" name="Google Shape;3894;p59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59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96" name="Google Shape;3896;p5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3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8" name="Google Shape;3898;p59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9" name="Google Shape;3899;p59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59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1" name="Google Shape;3901;p59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02" name="Google Shape;3902;p5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3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4" name="Google Shape;3904;p5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05" name="Google Shape;3905;p5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06" name="Google Shape;3906;p5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7" name="Google Shape;3907;p59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8" name="Google Shape;3908;p59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3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0" name="Google Shape;3910;p5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1" name="Google Shape;3911;p5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2" name="Google Shape;3912;p59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3" name="Google Shape;3913;p59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4" name="Google Shape;3914;p59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15" name="Google Shape;3915;p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3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7" name="Google Shape;3917;p59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8" name="Google Shape;3918;p5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9" name="Google Shape;3919;p5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59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21" name="Google Shape;3921;p5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3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3" name="Google Shape;3923;p59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4" name="Google Shape;3924;p5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25" name="Google Shape;3925;p59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6" name="Google Shape;3926;p5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7" name="Google Shape;3927;p5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3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9" name="Google Shape;3929;p5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0" name="Google Shape;3930;p5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1" name="Google Shape;3931;p5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2" name="Google Shape;3932;p5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3" name="Google Shape;3933;p5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34" name="Google Shape;3934;p5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3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6" name="Google Shape;3936;p5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7" name="Google Shape;3937;p5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8" name="Google Shape;3938;p5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39" name="Google Shape;3939;p5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40" name="Google Shape;3940;p5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41" name="Google Shape;3941;p5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2" name="Google Shape;3942;p5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3" name="Google Shape;3943;p5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3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45" name="Google Shape;3945;p6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946" name="Google Shape;3946;p6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7" name="Google Shape;3947;p6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8" name="Google Shape;3948;p6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9" name="Google Shape;3949;p6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950" name="Google Shape;3950;p6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1" name="Google Shape;3951;p6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3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3" name="Google Shape;3953;p6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54" name="Google Shape;3954;p6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955" name="Google Shape;3955;p6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956" name="Google Shape;3956;p6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7" name="Google Shape;3957;p6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58" name="Google Shape;3958;p6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959" name="Google Shape;3959;p6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oogle Shape;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" name="Google Shape;42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" name="Google Shape;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" name="Google Shape;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" name="Google Shape;46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" name="Google Shape;49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50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3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1" name="Google Shape;3961;p6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2" name="Google Shape;3962;p6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3" name="Google Shape;3963;p6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4" name="Google Shape;3964;p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65" name="Google Shape;3965;p6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6" name="Google Shape;3966;p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67" name="Google Shape;3967;p6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68" name="Google Shape;3968;p6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9" name="Google Shape;3969;p6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0" name="Google Shape;3970;p6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1" name="Google Shape;3971;p6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72" name="Google Shape;3972;p6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3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4" name="Google Shape;3974;p6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75" name="Google Shape;3975;p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76" name="Google Shape;3976;p6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7" name="Google Shape;3977;p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8" name="Google Shape;3978;p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79" name="Google Shape;3979;p6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0" name="Google Shape;3980;p6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1" name="Google Shape;3981;p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82" name="Google Shape;3982;p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83" name="Google Shape;3983;p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3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5" name="Google Shape;3985;p6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6" name="Google Shape;3986;p6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87" name="Google Shape;3987;p6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8" name="Google Shape;3988;p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89" name="Google Shape;3989;p6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90" name="Google Shape;3990;p6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91" name="Google Shape;3991;p6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92" name="Google Shape;3992;p6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3" name="Google Shape;3993;p6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94" name="Google Shape;3994;p6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95" name="Google Shape;3995;p6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3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7" name="Google Shape;3997;p6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98" name="Google Shape;3998;p6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9" name="Google Shape;3999;p6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0" name="Google Shape;4000;p6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1" name="Google Shape;4001;p6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02" name="Google Shape;4002;p6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3" name="Google Shape;4003;p6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4" name="Google Shape;4004;p6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5" name="Google Shape;4005;p6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6" name="Google Shape;4006;p6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7" name="Google Shape;4007;p6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8" name="Google Shape;4008;p6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9" name="Google Shape;4009;p6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4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1" name="Google Shape;4011;p6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12" name="Google Shape;4012;p6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3" name="Google Shape;4013;p6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14" name="Google Shape;4014;p6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5" name="Google Shape;4015;p6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6" name="Google Shape;4016;p6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7" name="Google Shape;4017;p6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8" name="Google Shape;4018;p6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9" name="Google Shape;4019;p6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4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21" name="Google Shape;4021;p6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22" name="Google Shape;4022;p6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3" name="Google Shape;4023;p6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24" name="Google Shape;4024;p6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5" name="Google Shape;4025;p6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26" name="Google Shape;4026;p6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027" name="Google Shape;4027;p6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028" name="Google Shape;4028;p6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4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0" name="Google Shape;4030;p6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31" name="Google Shape;4031;p6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2" name="Google Shape;4032;p6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33" name="Google Shape;4033;p6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34" name="Google Shape;4034;p6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5" name="Google Shape;4035;p6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36" name="Google Shape;4036;p6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7" name="Google Shape;4037;p6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9" name="Google Shape;4039;p6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0" name="Google Shape;4040;p6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1" name="Google Shape;4041;p6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042" name="Google Shape;4042;p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043" name="Google Shape;4043;p6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044" name="Google Shape;4044;p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5" name="Google Shape;4045;p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46" name="Google Shape;4046;p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48" name="Google Shape;4048;p6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9" name="Google Shape;4049;p6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0" name="Google Shape;4050;p6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1" name="Google Shape;4051;p6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52" name="Google Shape;4052;p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53" name="Google Shape;4053;p6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4" name="Google Shape;4054;p6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p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57" name="Google Shape;4057;p6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58" name="Google Shape;4058;p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059" name="Google Shape;4059;p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0" name="Google Shape;4060;p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61" name="Google Shape;4061;p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062" name="Google Shape;4062;p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4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4" name="Google Shape;4064;p6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5" name="Google Shape;4065;p6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6" name="Google Shape;4066;p6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7" name="Google Shape;4067;p6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8" name="Google Shape;4068;p6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69" name="Google Shape;4069;p6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70" name="Google Shape;4070;p6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1" name="Google Shape;4071;p6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2" name="Google Shape;4072;p6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73" name="Google Shape;4073;p6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4" name="Google Shape;4074;p6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75" name="Google Shape;4075;p6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4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77" name="Google Shape;4077;p6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8" name="Google Shape;4078;p6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9" name="Google Shape;4079;p6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80" name="Google Shape;4080;p6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1" name="Google Shape;4081;p6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2" name="Google Shape;4082;p6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3" name="Google Shape;4083;p6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4" name="Google Shape;4084;p6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5" name="Google Shape;4085;p6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6" name="Google Shape;4086;p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4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8" name="Google Shape;4088;p6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9" name="Google Shape;4089;p6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90" name="Google Shape;4090;p6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91" name="Google Shape;4091;p6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92" name="Google Shape;4092;p6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93" name="Google Shape;4093;p6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94" name="Google Shape;4094;p6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95" name="Google Shape;4095;p6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6" name="Google Shape;4096;p6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7" name="Google Shape;4097;p6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8" name="Google Shape;4098;p6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4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0" name="Google Shape;4100;p6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01" name="Google Shape;4101;p6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2" name="Google Shape;4102;p6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03" name="Google Shape;4103;p6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4" name="Google Shape;4104;p6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05" name="Google Shape;4105;p6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6" name="Google Shape;4106;p6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7" name="Google Shape;4107;p6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08" name="Google Shape;4108;p6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9" name="Google Shape;4109;p6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0" name="Google Shape;4110;p6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1" name="Google Shape;4111;p6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2" name="Google Shape;4112;p6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4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4" name="Google Shape;4114;p6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15" name="Google Shape;4115;p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16" name="Google Shape;4116;p6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17" name="Google Shape;4117;p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18" name="Google Shape;4118;p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19" name="Google Shape;4119;p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0" name="Google Shape;4120;p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21" name="Google Shape;4121;p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22" name="Google Shape;4122;p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4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24" name="Google Shape;4124;p6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25" name="Google Shape;4125;p6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6" name="Google Shape;4126;p6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27" name="Google Shape;4127;p6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8" name="Google Shape;4128;p6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9" name="Google Shape;4129;p6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30" name="Google Shape;4130;p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31" name="Google Shape;4131;p6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4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3" name="Google Shape;4133;p6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34" name="Google Shape;4134;p6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5" name="Google Shape;4135;p6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36" name="Google Shape;4136;p6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37" name="Google Shape;4137;p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8" name="Google Shape;4138;p6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39" name="Google Shape;4139;p6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0" name="Google Shape;4140;p6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spTree>
      <p:nvGrpSpPr>
        <p:cNvPr id="1" name="Shape 4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2" name="Google Shape;4142;p61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3" name="Google Shape;4143;p6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144" name="Google Shape;4144;p61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4145" name="Google Shape;4145;p61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46" name="Google Shape;4146;p61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4147" name="Google Shape;4147;p61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8" name="Google Shape;4148;p61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9" name="Google Shape;4149;p61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0" name="Google Shape;4150;p61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4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2" name="Google Shape;4152;p62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53" name="Google Shape;4153;p62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4" name="Google Shape;4154;p62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5" name="Google Shape;4155;p62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6" name="Google Shape;4156;p6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57" name="Google Shape;4157;p62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9" name="Google Shape;4159;p621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0" name="Google Shape;4160;p621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4161" name="Google Shape;4161;p6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2" name="Google Shape;4162;p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3" name="Google Shape;4163;p6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5" name="Google Shape;4165;p622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6" name="Google Shape;4166;p622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167" name="Google Shape;4167;p622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4168" name="Google Shape;4168;p6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9" name="Google Shape;4169;p6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0" name="Google Shape;4170;p6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4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2" name="Google Shape;4172;p62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3" name="Google Shape;4173;p62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4" name="Google Shape;4174;p62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5" name="Google Shape;4175;p62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6" name="Google Shape;4176;p62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7" name="Google Shape;4177;p62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78" name="Google Shape;4178;p62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79" name="Google Shape;4179;p62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80" name="Google Shape;4180;p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87" name="Google Shape;4187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88" name="Google Shape;418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89" name="Google Shape;418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90" name="Google Shape;419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1" name="Google Shape;419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2" name="Google Shape;4192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3" name="Google Shape;4193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94" name="Google Shape;4194;p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95" name="Google Shape;4195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6" name="Google Shape;4196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" name="Google Shape;4198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9" name="Google Shape;4199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00" name="Google Shape;4200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01" name="Google Shape;4201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02" name="Google Shape;4202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03" name="Google Shape;4203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4" name="Google Shape;4204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05" name="Google Shape;4205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6" name="Google Shape;4206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07" name="Google Shape;4207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08" name="Google Shape;4208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0" name="Google Shape;4210;p6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11" name="Google Shape;4211;p6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2" name="Google Shape;4212;p6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13" name="Google Shape;4213;p6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4" name="Google Shape;4214;p6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15" name="Google Shape;4215;p6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6" name="Google Shape;4216;p6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7" name="Google Shape;4217;p6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8" name="Google Shape;4218;p6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19" name="Google Shape;4219;p6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4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21" name="Google Shape;4221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22" name="Google Shape;4222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23" name="Google Shape;4223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24" name="Google Shape;4224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5" name="Google Shape;4225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26" name="Google Shape;4226;p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7" name="Google Shape;4227;p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8" name="Google Shape;4228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29" name="Google Shape;4229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30" name="Google Shape;4230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2" name="Google Shape;4232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33" name="Google Shape;4233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34" name="Google Shape;4234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35" name="Google Shape;4235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6" name="Google Shape;4236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37" name="Google Shape;4237;p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8" name="Google Shape;4238;p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9" name="Google Shape;4239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40" name="Google Shape;4240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1" name="Google Shape;4241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2">
    <p:spTree>
      <p:nvGrpSpPr>
        <p:cNvPr id="1" name="Shape 4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3" name="Google Shape;4243;p6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44" name="Google Shape;4244;p6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45" name="Google Shape;4245;p6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46" name="Google Shape;4246;p6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7" name="Google Shape;4247;p6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48" name="Google Shape;4248;p6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9" name="Google Shape;4249;p6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0" name="Google Shape;4250;p6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51" name="Google Shape;4251;p6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52" name="Google Shape;4252;p6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3">
    <p:spTree>
      <p:nvGrpSpPr>
        <p:cNvPr id="1" name="Shape 4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4" name="Google Shape;4254;p6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5" name="Google Shape;4255;p6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56" name="Google Shape;4256;p6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57" name="Google Shape;4257;p6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8" name="Google Shape;4258;p6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59" name="Google Shape;4259;p6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0" name="Google Shape;4260;p6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1" name="Google Shape;4261;p6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62" name="Google Shape;4262;p6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63" name="Google Shape;4263;p6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4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5" name="Google Shape;4265;p62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6" name="Google Shape;4266;p62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7" name="Google Shape;4267;p62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68" name="Google Shape;4268;p6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69" name="Google Shape;4269;p62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270" name="Google Shape;4270;p6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1" name="Google Shape;4271;p62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72" name="Google Shape;4272;p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4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74" name="Google Shape;4274;p6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75" name="Google Shape;4275;p6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6" name="Google Shape;4276;p6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7" name="Google Shape;4277;p6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8" name="Google Shape;4278;p6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79" name="Google Shape;4279;p6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0" name="Google Shape;4280;p6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81" name="Google Shape;4281;p6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82" name="Google Shape;4282;p6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83" name="Google Shape;4283;p6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2">
    <p:spTree>
      <p:nvGrpSpPr>
        <p:cNvPr id="1" name="Shape 4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5" name="Google Shape;4285;p6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86" name="Google Shape;4286;p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7" name="Google Shape;4287;p6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8" name="Google Shape;4288;p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9" name="Google Shape;4289;p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0" name="Google Shape;4290;p6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1" name="Google Shape;4291;p6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2" name="Google Shape;4292;p6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93" name="Google Shape;4293;p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94" name="Google Shape;4294;p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6" name="Google Shape;4296;p6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7" name="Google Shape;4297;p6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98" name="Google Shape;4298;p6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99" name="Google Shape;4299;p6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00" name="Google Shape;4300;p6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01" name="Google Shape;4301;p6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2" name="Google Shape;4302;p6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03" name="Google Shape;4303;p6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4" name="Google Shape;4304;p6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5" name="Google Shape;4305;p6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06" name="Google Shape;4306;p6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4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8" name="Google Shape;4308;p6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09" name="Google Shape;4309;p6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10" name="Google Shape;4310;p6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11" name="Google Shape;4311;p6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2" name="Google Shape;4312;p6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13" name="Google Shape;4313;p6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4" name="Google Shape;4314;p6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5" name="Google Shape;4315;p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6" name="Google Shape;4316;p6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17" name="Google Shape;4317;p6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9" name="Google Shape;4319;p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20" name="Google Shape;4320;p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1" name="Google Shape;4321;p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322" name="Google Shape;4322;p6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23" name="Google Shape;4323;p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24" name="Google Shape;4324;p6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25" name="Google Shape;4325;p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6" name="Google Shape;4326;p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8" name="Google Shape;4328;p6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29" name="Google Shape;4329;p6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0" name="Google Shape;4330;p6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1" name="Google Shape;4331;p6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32" name="Google Shape;4332;p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33" name="Google Shape;4333;p6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4" name="Google Shape;4334;p6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6" name="Google Shape;4336;p6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37" name="Google Shape;4337;p6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338" name="Google Shape;4338;p6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339" name="Google Shape;4339;p6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0" name="Google Shape;4340;p6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41" name="Google Shape;4341;p6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342" name="Google Shape;4342;p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44" name="Google Shape;4344;p6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5" name="Google Shape;4345;p6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6" name="Google Shape;4346;p6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47" name="Google Shape;4347;p6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8" name="Google Shape;4348;p6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49" name="Google Shape;4349;p6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0" name="Google Shape;4350;p6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51" name="Google Shape;4351;p6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2" name="Google Shape;4352;p6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53" name="Google Shape;4353;p6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4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5" name="Google Shape;4355;p6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6" name="Google Shape;4356;p6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7" name="Google Shape;4357;p6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8" name="Google Shape;4358;p6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359" name="Google Shape;4359;p6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360" name="Google Shape;4360;p6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1" name="Google Shape;4361;p6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2" name="Google Shape;4362;p6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_OBJECTS 2">
    <p:spTree>
      <p:nvGrpSpPr>
        <p:cNvPr id="1" name="Shape 4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4" name="Google Shape;4364;p6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5" name="Google Shape;4365;p6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66" name="Google Shape;4366;p6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67" name="Google Shape;4367;p6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68" name="Google Shape;4368;p6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9" name="Google Shape;4369;p6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0" name="Google Shape;4370;p6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1" name="Google Shape;4371;p6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2" name="Google Shape;4372;p6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73" name="Google Shape;4373;p6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74" name="Google Shape;4374;p6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3">
    <p:spTree>
      <p:nvGrpSpPr>
        <p:cNvPr id="1" name="Shape 4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76" name="Google Shape;4376;p6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77" name="Google Shape;4377;p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78" name="Google Shape;4378;p6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79" name="Google Shape;4379;p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0" name="Google Shape;4380;p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81" name="Google Shape;4381;p6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2" name="Google Shape;4382;p6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3" name="Google Shape;4383;p6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84" name="Google Shape;4384;p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85" name="Google Shape;4385;p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4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7" name="Google Shape;4387;p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8" name="Google Shape;4388;p6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89" name="Google Shape;4389;p6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90" name="Google Shape;4390;p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1" name="Google Shape;4391;p6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92" name="Google Shape;4392;p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3" name="Google Shape;4393;p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94" name="Google Shape;4394;p63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5" name="Google Shape;4395;p63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96" name="Google Shape;4396;p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97" name="Google Shape;4397;p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 2">
    <p:spTree>
      <p:nvGrpSpPr>
        <p:cNvPr id="1" name="Shape 4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9" name="Google Shape;4399;p6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00" name="Google Shape;4400;p6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01" name="Google Shape;4401;p6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02" name="Google Shape;4402;p6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3" name="Google Shape;4403;p6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4" name="Google Shape;4404;p6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5" name="Google Shape;4405;p6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6" name="Google Shape;4406;p6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07" name="Google Shape;4407;p6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08" name="Google Shape;4408;p6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0" name="Google Shape;4410;p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11" name="Google Shape;4411;p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12" name="Google Shape;4412;p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413" name="Google Shape;4413;p6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14" name="Google Shape;4414;p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15" name="Google Shape;4415;p6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16" name="Google Shape;4416;p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7" name="Google Shape;4417;p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4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19" name="Google Shape;4419;p6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20" name="Google Shape;4420;p6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1" name="Google Shape;4421;p6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2" name="Google Shape;4422;p6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23" name="Google Shape;4423;p6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24" name="Google Shape;4424;p6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5" name="Google Shape;4425;p6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7" name="Google Shape;4427;p6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428" name="Google Shape;4428;p6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29" name="Google Shape;4429;p6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30" name="Google Shape;4430;p6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1" name="Google Shape;4431;p6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2" name="Google Shape;4432;p6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33" name="Google Shape;4433;p6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 2">
    <p:spTree>
      <p:nvGrpSpPr>
        <p:cNvPr id="1" name="Shape 4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5" name="Google Shape;4435;p6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36" name="Google Shape;4436;p6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37" name="Google Shape;4437;p6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38" name="Google Shape;4438;p6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9" name="Google Shape;4439;p6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40" name="Google Shape;4440;p6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1" name="Google Shape;4441;p6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42" name="Google Shape;4442;p6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43" name="Google Shape;4443;p6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4" name="Google Shape;4444;p6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2">
    <p:spTree>
      <p:nvGrpSpPr>
        <p:cNvPr id="1" name="Shape 4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46" name="Google Shape;4446;p6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47" name="Google Shape;4447;p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48" name="Google Shape;4448;p6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49" name="Google Shape;4449;p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0" name="Google Shape;4450;p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51" name="Google Shape;4451;p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2" name="Google Shape;4452;p6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3" name="Google Shape;4453;p6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54" name="Google Shape;4454;p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55" name="Google Shape;4455;p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3">
    <p:spTree>
      <p:nvGrpSpPr>
        <p:cNvPr id="1" name="Shape 4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7" name="Google Shape;4457;p6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58" name="Google Shape;4458;p6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9" name="Google Shape;4459;p6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60" name="Google Shape;4460;p6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1" name="Google Shape;4461;p6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62" name="Google Shape;4462;p6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3" name="Google Shape;4463;p6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64" name="Google Shape;4464;p6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65" name="Google Shape;4465;p6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66" name="Google Shape;4466;p6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2">
    <p:bg>
      <p:bgPr>
        <a:solidFill>
          <a:schemeClr val="lt2"/>
        </a:solidFill>
        <a:effectLst/>
      </p:bgPr>
    </p:bg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8" name="Google Shape;4468;p6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69" name="Google Shape;4469;p6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0" name="Google Shape;4470;p6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1" name="Google Shape;4471;p6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72" name="Google Shape;4472;p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73" name="Google Shape;4473;p6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4" name="Google Shape;4474;p6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4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76" name="Google Shape;4476;p6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7" name="Google Shape;4477;p6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78" name="Google Shape;4478;p6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79" name="Google Shape;4479;p6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0" name="Google Shape;4480;p6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81" name="Google Shape;4481;p6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2" name="Google Shape;4482;p6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83" name="Google Shape;4483;p6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84" name="Google Shape;4484;p6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85" name="Google Shape;4485;p6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3">
    <p:bg>
      <p:bgPr>
        <a:solidFill>
          <a:schemeClr val="lt2"/>
        </a:solidFill>
        <a:effectLst/>
      </p:bgPr>
    </p:bg>
    <p:spTree>
      <p:nvGrpSpPr>
        <p:cNvPr id="1" name="Shape 4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7" name="Google Shape;4487;p6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88" name="Google Shape;4488;p6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9" name="Google Shape;4489;p6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0" name="Google Shape;4490;p6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91" name="Google Shape;4491;p6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92" name="Google Shape;4492;p6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3" name="Google Shape;4493;p6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 2">
    <p:spTree>
      <p:nvGrpSpPr>
        <p:cNvPr id="1" name="Shape 4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95" name="Google Shape;4495;p6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96" name="Google Shape;4496;p6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97" name="Google Shape;4497;p6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8" name="Google Shape;4498;p6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9" name="Google Shape;4499;p6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0" name="Google Shape;4500;p6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1" name="Google Shape;4501;p6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2" name="Google Shape;4502;p6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3" name="Google Shape;4503;p6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04" name="Google Shape;4504;p6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 2">
    <p:spTree>
      <p:nvGrpSpPr>
        <p:cNvPr id="1" name="Shape 4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" name="Google Shape;4506;p6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07" name="Google Shape;4507;p6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8" name="Google Shape;4508;p6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09" name="Google Shape;4509;p6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0" name="Google Shape;4510;p6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1" name="Google Shape;4511;p6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2" name="Google Shape;4512;p6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3" name="Google Shape;4513;p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14" name="Google Shape;4514;p6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5" name="Google Shape;4515;p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2">
    <p:spTree>
      <p:nvGrpSpPr>
        <p:cNvPr id="1" name="Shape 4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7" name="Google Shape;4517;p6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8" name="Google Shape;4518;p6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9" name="Google Shape;4519;p6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20" name="Google Shape;4520;p6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21" name="Google Shape;4521;p6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522" name="Google Shape;4522;p6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3" name="Google Shape;4523;p6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4" name="Google Shape;4524;p6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4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26" name="Google Shape;4526;p6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27" name="Google Shape;4527;p6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8" name="Google Shape;4528;p6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9" name="Google Shape;4529;p6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30" name="Google Shape;4530;p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1" name="Google Shape;4531;p6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2" name="Google Shape;4532;p6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2">
    <p:spTree>
      <p:nvGrpSpPr>
        <p:cNvPr id="1" name="Shape 4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4" name="Google Shape;4534;p6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535" name="Google Shape;4535;p6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536" name="Google Shape;4536;p6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537" name="Google Shape;4537;p6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8" name="Google Shape;4538;p6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39" name="Google Shape;4539;p6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540" name="Google Shape;4540;p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4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2" name="Google Shape;4542;p6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3" name="Google Shape;4543;p6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4" name="Google Shape;4544;p6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45" name="Google Shape;4545;p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46" name="Google Shape;4546;p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7" name="Google Shape;4547;p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48" name="Google Shape;4548;p6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49" name="Google Shape;4549;p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50" name="Google Shape;4550;p6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1" name="Google Shape;4551;p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2" name="Google Shape;4552;p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53" name="Google Shape;4553;p6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4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5" name="Google Shape;4555;p6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6" name="Google Shape;4556;p6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7" name="Google Shape;4557;p6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8" name="Google Shape;4558;p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59" name="Google Shape;4559;p6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60" name="Google Shape;4560;p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61" name="Google Shape;4561;p6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2" name="Google Shape;4562;p6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63" name="Google Shape;4563;p6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64" name="Google Shape;4564;p6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5" name="Google Shape;4565;p6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66" name="Google Shape;4566;p6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4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8" name="Google Shape;4568;p6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9" name="Google Shape;4569;p6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0" name="Google Shape;4570;p6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71" name="Google Shape;4571;p6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2" name="Google Shape;4572;p6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73" name="Google Shape;4573;p6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4" name="Google Shape;4574;p6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5" name="Google Shape;4575;p6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76" name="Google Shape;4576;p6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7" name="Google Shape;4577;p6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2">
    <p:spTree>
      <p:nvGrpSpPr>
        <p:cNvPr id="1" name="Shape 4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9" name="Google Shape;4579;p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0" name="Google Shape;4580;p6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581" name="Google Shape;4581;p6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82" name="Google Shape;4582;p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83" name="Google Shape;4583;p6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84" name="Google Shape;4584;p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5" name="Google Shape;4585;p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86" name="Google Shape;4586;p6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7" name="Google Shape;4587;p6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88" name="Google Shape;4588;p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89" name="Google Shape;4589;p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1" name="Google Shape;4591;p6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92" name="Google Shape;4592;p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93" name="Google Shape;4593;p6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94" name="Google Shape;4594;p6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5" name="Google Shape;4595;p6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96" name="Google Shape;4596;p6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7" name="Google Shape;4597;p65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98" name="Google Shape;4598;p65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9" name="Google Shape;4599;p6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00" name="Google Shape;4600;p6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01" name="Google Shape;4601;p6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2" name="Google Shape;4602;p6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03" name="Google Shape;4603;p6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5" name="Google Shape;4605;p6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06" name="Google Shape;4606;p6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7" name="Google Shape;4607;p6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08" name="Google Shape;4608;p6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9" name="Google Shape;4609;p6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10" name="Google Shape;4610;p6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1" name="Google Shape;4611;p6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12" name="Google Shape;4612;p6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3" name="Google Shape;4613;p6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4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5" name="Google Shape;4615;p66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16" name="Google Shape;4616;p66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7" name="Google Shape;4617;p66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18" name="Google Shape;4618;p66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9" name="Google Shape;4619;p66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0" name="Google Shape;4620;p66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21" name="Google Shape;4621;p6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22" name="Google Shape;4622;p6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4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4" name="Google Shape;4624;p6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25" name="Google Shape;4625;p6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26" name="Google Shape;4626;p6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27" name="Google Shape;4627;p6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28" name="Google Shape;4628;p6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29" name="Google Shape;4629;p6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30" name="Google Shape;4630;p6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1" name="Google Shape;4631;p6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2">
    <p:spTree>
      <p:nvGrpSpPr>
        <p:cNvPr id="1" name="Shape 4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3" name="Google Shape;4633;p6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4" name="Google Shape;4634;p6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5" name="Google Shape;4635;p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36" name="Google Shape;4636;p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37" name="Google Shape;4637;p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8" name="Google Shape;4638;p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39" name="Google Shape;4639;p6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40" name="Google Shape;4640;p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1" name="Google Shape;4641;p6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42" name="Google Shape;4642;p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3" name="Google Shape;4643;p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44" name="Google Shape;4644;p6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3">
    <p:spTree>
      <p:nvGrpSpPr>
        <p:cNvPr id="1" name="Shape 4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6" name="Google Shape;4646;p6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7" name="Google Shape;4647;p6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48" name="Google Shape;4648;p6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9" name="Google Shape;4649;p6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50" name="Google Shape;4650;p6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1" name="Google Shape;4651;p6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52" name="Google Shape;4652;p6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53" name="Google Shape;4653;p6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54" name="Google Shape;4654;p6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5" name="Google Shape;4655;p6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6" name="Google Shape;4656;p6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57" name="Google Shape;4657;p6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3">
    <p:spTree>
      <p:nvGrpSpPr>
        <p:cNvPr id="1" name="Shape 4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9" name="Google Shape;4659;p6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60" name="Google Shape;4660;p6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1" name="Google Shape;4661;p6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62" name="Google Shape;4662;p6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63" name="Google Shape;4663;p6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64" name="Google Shape;4664;p6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5" name="Google Shape;4665;p6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66" name="Google Shape;4666;p6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2">
    <p:bg>
      <p:bgPr>
        <a:solidFill>
          <a:schemeClr val="lt2"/>
        </a:solidFill>
        <a:effectLst/>
      </p:bgPr>
    </p:bg>
    <p:spTree>
      <p:nvGrpSpPr>
        <p:cNvPr id="1" name="Shape 4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68" name="Google Shape;4668;p6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9" name="Google Shape;4669;p6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0" name="Google Shape;4670;p6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1" name="Google Shape;4671;p6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72" name="Google Shape;4672;p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73" name="Google Shape;4673;p6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4" name="Google Shape;4674;p6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3">
    <p:spTree>
      <p:nvGrpSpPr>
        <p:cNvPr id="1" name="Shape 4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6" name="Google Shape;4676;p6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677" name="Google Shape;4677;p66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678" name="Google Shape;4678;p6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679" name="Google Shape;4679;p6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0" name="Google Shape;4680;p6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81" name="Google Shape;4681;p6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682" name="Google Shape;4682;p6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4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4" name="Google Shape;4684;p6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5" name="Google Shape;4685;p6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6" name="Google Shape;4686;p6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7" name="Google Shape;4687;p6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88" name="Google Shape;4688;p6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89" name="Google Shape;4689;p6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90" name="Google Shape;4690;p6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1" name="Google Shape;4691;p6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2" name="Google Shape;4692;p6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93" name="Google Shape;4693;p6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4" name="Google Shape;4694;p6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95" name="Google Shape;4695;p6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2">
    <p:spTree>
      <p:nvGrpSpPr>
        <p:cNvPr id="1" name="Shape 4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7" name="Google Shape;4697;p6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8" name="Google Shape;4698;p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9" name="Google Shape;4699;p6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00" name="Google Shape;4700;p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1" name="Google Shape;4701;p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02" name="Google Shape;4702;p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3" name="Google Shape;4703;p6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4" name="Google Shape;4704;p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05" name="Google Shape;4705;p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6" name="Google Shape;4706;p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3">
    <p:spTree>
      <p:nvGrpSpPr>
        <p:cNvPr id="1" name="Shape 4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8" name="Google Shape;4708;p6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9" name="Google Shape;4709;p6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710" name="Google Shape;4710;p6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11" name="Google Shape;4711;p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2" name="Google Shape;4712;p6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13" name="Google Shape;4713;p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4" name="Google Shape;4714;p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15" name="Google Shape;4715;p67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6" name="Google Shape;4716;p67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17" name="Google Shape;4717;p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18" name="Google Shape;4718;p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2">
    <p:spTree>
      <p:nvGrpSpPr>
        <p:cNvPr id="1" name="Shape 4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20" name="Google Shape;4720;p6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1" name="Google Shape;4721;p6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22" name="Google Shape;4722;p6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23" name="Google Shape;4723;p6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4" name="Google Shape;4724;p6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25" name="Google Shape;4725;p6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6" name="Google Shape;4726;p67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7" name="Google Shape;4727;p67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8" name="Google Shape;4728;p67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9" name="Google Shape;4729;p67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0" name="Google Shape;4730;p6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31" name="Google Shape;4731;p6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2" name="Google Shape;4732;p6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2">
    <p:spTree>
      <p:nvGrpSpPr>
        <p:cNvPr id="1" name="Shape 4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34" name="Google Shape;4734;p6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35" name="Google Shape;4735;p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6" name="Google Shape;4736;p6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37" name="Google Shape;4737;p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8" name="Google Shape;4738;p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9" name="Google Shape;4739;p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0" name="Google Shape;4740;p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41" name="Google Shape;4741;p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42" name="Google Shape;4742;p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4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44" name="Google Shape;4744;p6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45" name="Google Shape;4745;p6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6" name="Google Shape;4746;p6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7" name="Google Shape;4747;p6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8" name="Google Shape;4748;p6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9" name="Google Shape;4749;p6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50" name="Google Shape;4750;p6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51" name="Google Shape;4751;p6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p6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4" name="Google Shape;4754;p6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5" name="Google Shape;4755;p6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56" name="Google Shape;4756;p6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57" name="Google Shape;4757;p6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58" name="Google Shape;4758;p6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59" name="Google Shape;4759;p6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60" name="Google Shape;4760;p6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4">
    <p:spTree>
      <p:nvGrpSpPr>
        <p:cNvPr id="1" name="Shape 4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2" name="Google Shape;4762;p6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3" name="Google Shape;4763;p6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4" name="Google Shape;4764;p6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5" name="Google Shape;4765;p6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66" name="Google Shape;4766;p6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67" name="Google Shape;4767;p6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68" name="Google Shape;4768;p6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69" name="Google Shape;4769;p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0" name="Google Shape;4770;p6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71" name="Google Shape;4771;p6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2" name="Google Shape;4772;p6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773" name="Google Shape;4773;p6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4">
    <p:spTree>
      <p:nvGrpSpPr>
        <p:cNvPr id="1" name="Shape 4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5" name="Google Shape;4775;p6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6" name="Google Shape;4776;p6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77" name="Google Shape;4777;p6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78" name="Google Shape;4778;p6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779" name="Google Shape;4779;p6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780" name="Google Shape;4780;p6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1" name="Google Shape;4781;p6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2" name="Google Shape;4782;p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3">
    <p:bg>
      <p:bgPr>
        <a:solidFill>
          <a:schemeClr val="lt2"/>
        </a:solidFill>
        <a:effectLst/>
      </p:bgPr>
    </p:bg>
    <p:spTree>
      <p:nvGrpSpPr>
        <p:cNvPr id="1" name="Shape 4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84" name="Google Shape;4784;p6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785" name="Google Shape;4785;p6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6" name="Google Shape;4786;p6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7" name="Google Shape;4787;p6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8" name="Google Shape;4788;p6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89" name="Google Shape;4789;p6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0" name="Google Shape;4790;p6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4">
    <p:spTree>
      <p:nvGrpSpPr>
        <p:cNvPr id="1" name="Shape 4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" name="Google Shape;4792;p6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93" name="Google Shape;4793;p6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94" name="Google Shape;4794;p6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95" name="Google Shape;4795;p6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6" name="Google Shape;4796;p6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97" name="Google Shape;4797;p6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8" name="Google Shape;4798;p6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0" name="Google Shape;4800;p6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1" name="Google Shape;4801;p6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2" name="Google Shape;4802;p6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3" name="Google Shape;4803;p6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04" name="Google Shape;4804;p6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05" name="Google Shape;4805;p6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06" name="Google Shape;4806;p6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07" name="Google Shape;4807;p6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08" name="Google Shape;4808;p6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9" name="Google Shape;4809;p6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0" name="Google Shape;4810;p6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1" name="Google Shape;4811;p6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3">
    <p:spTree>
      <p:nvGrpSpPr>
        <p:cNvPr id="1" name="Shape 4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" name="Google Shape;4813;p6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14" name="Google Shape;4814;p6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15" name="Google Shape;4815;p6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16" name="Google Shape;4816;p6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7" name="Google Shape;4817;p6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18" name="Google Shape;4818;p6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9" name="Google Shape;4819;p6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0" name="Google Shape;4820;p6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1" name="Google Shape;4821;p6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2" name="Google Shape;4822;p6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4">
    <p:spTree>
      <p:nvGrpSpPr>
        <p:cNvPr id="1" name="Shape 4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4" name="Google Shape;4824;p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5" name="Google Shape;4825;p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26" name="Google Shape;4826;p6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27" name="Google Shape;4827;p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28" name="Google Shape;4828;p6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29" name="Google Shape;4829;p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0" name="Google Shape;4830;p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1" name="Google Shape;4831;p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2" name="Google Shape;4832;p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33" name="Google Shape;4833;p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34" name="Google Shape;4834;p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3">
    <p:spTree>
      <p:nvGrpSpPr>
        <p:cNvPr id="1" name="Shape 4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6" name="Google Shape;4836;p6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37" name="Google Shape;4837;p6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8" name="Google Shape;4838;p6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39" name="Google Shape;4839;p6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0" name="Google Shape;4840;p6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41" name="Google Shape;4841;p6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2" name="Google Shape;4842;p6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3" name="Google Shape;4843;p6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4" name="Google Shape;4844;p6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5" name="Google Shape;4845;p6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6" name="Google Shape;4846;p6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7" name="Google Shape;4847;p6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48" name="Google Shape;4848;p6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3">
    <p:spTree>
      <p:nvGrpSpPr>
        <p:cNvPr id="1" name="Shape 4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50" name="Google Shape;4850;p6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51" name="Google Shape;4851;p6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2" name="Google Shape;4852;p6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53" name="Google Shape;4853;p6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4" name="Google Shape;4854;p6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55" name="Google Shape;4855;p6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56" name="Google Shape;4856;p6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7" name="Google Shape;4857;p6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8" name="Google Shape;4858;p6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60" name="Google Shape;4860;p6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861" name="Google Shape;4861;p6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2" name="Google Shape;4862;p6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3" name="Google Shape;4863;p6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4" name="Google Shape;4864;p6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5" name="Google Shape;4865;p6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66" name="Google Shape;4866;p6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67" name="Google Shape;4867;p6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9" name="Google Shape;4869;p6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70" name="Google Shape;4870;p6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71" name="Google Shape;4871;p6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72" name="Google Shape;4872;p6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73" name="Google Shape;4873;p6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74" name="Google Shape;4874;p6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75" name="Google Shape;4875;p6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6" name="Google Shape;4876;p6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5">
    <p:spTree>
      <p:nvGrpSpPr>
        <p:cNvPr id="1" name="Shape 4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8" name="Google Shape;4878;p6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9" name="Google Shape;4879;p6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0" name="Google Shape;4880;p6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1" name="Google Shape;4881;p6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82" name="Google Shape;4882;p6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83" name="Google Shape;4883;p6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84" name="Google Shape;4884;p6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5" name="Google Shape;4885;p6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86" name="Google Shape;4886;p6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87" name="Google Shape;4887;p6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8" name="Google Shape;4888;p6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9" name="Google Shape;4889;p6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4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1" name="Google Shape;4891;p6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2" name="Google Shape;4892;p6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3" name="Google Shape;4893;p6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894" name="Google Shape;4894;p6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895" name="Google Shape;4895;p6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896" name="Google Shape;4896;p6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7" name="Google Shape;4897;p6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98" name="Google Shape;4898;p6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00" name="Google Shape;4900;p6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01" name="Google Shape;4901;p6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2" name="Google Shape;4902;p6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3" name="Google Shape;4903;p6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04" name="Google Shape;4904;p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05" name="Google Shape;4905;p6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6" name="Google Shape;4906;p6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4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8" name="Google Shape;4908;p6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09" name="Google Shape;4909;p68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10" name="Google Shape;4910;p6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11" name="Google Shape;4911;p6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2" name="Google Shape;4912;p6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13" name="Google Shape;4913;p6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14" name="Google Shape;4914;p6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2">
    <p:spTree>
      <p:nvGrpSpPr>
        <p:cNvPr id="1" name="Shape 4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6" name="Google Shape;4916;p6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17" name="Google Shape;4917;p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8" name="Google Shape;4918;p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19" name="Google Shape;4919;p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20" name="Google Shape;4920;p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1" name="Google Shape;4921;p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22" name="Google Shape;4922;p6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23" name="Google Shape;4923;p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24" name="Google Shape;4924;p6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25" name="Google Shape;4925;p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26" name="Google Shape;4926;p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7" name="Google Shape;4927;p6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3">
    <p:spTree>
      <p:nvGrpSpPr>
        <p:cNvPr id="1" name="Shape 4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9" name="Google Shape;4929;p6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0" name="Google Shape;4930;p6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1" name="Google Shape;4931;p6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2" name="Google Shape;4932;p6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33" name="Google Shape;4933;p6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34" name="Google Shape;4934;p6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35" name="Google Shape;4935;p6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6" name="Google Shape;4936;p6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37" name="Google Shape;4937;p6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38" name="Google Shape;4938;p6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9" name="Google Shape;4939;p6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40" name="Google Shape;4940;p6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2" name="Google Shape;4942;p6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3" name="Google Shape;4943;p6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44" name="Google Shape;4944;p6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45" name="Google Shape;4945;p6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6" name="Google Shape;4946;p6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47" name="Google Shape;4947;p6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8" name="Google Shape;4948;p6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49" name="Google Shape;4949;p6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50" name="Google Shape;4950;p6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51" name="Google Shape;4951;p6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2" name="Google Shape;4952;p6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4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4" name="Google Shape;4954;p6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55" name="Google Shape;4955;p6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56" name="Google Shape;4956;p6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7" name="Google Shape;4957;p6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8" name="Google Shape;4958;p6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59" name="Google Shape;4959;p6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0" name="Google Shape;4960;p6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1" name="Google Shape;4961;p6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2" name="Google Shape;4962;p6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3" name="Google Shape;4963;p6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4" name="Google Shape;4964;p6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65" name="Google Shape;4965;p6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66" name="Google Shape;4966;p6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8" name="Google Shape;4968;p6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69" name="Google Shape;4969;p6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70" name="Google Shape;4970;p6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71" name="Google Shape;4971;p6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2" name="Google Shape;4972;p6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3" name="Google Shape;4973;p6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74" name="Google Shape;4974;p6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75" name="Google Shape;4975;p6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76" name="Google Shape;4976;p6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2">
    <p:spTree>
      <p:nvGrpSpPr>
        <p:cNvPr id="1" name="Shape 4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78" name="Google Shape;4978;p6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979" name="Google Shape;4979;p6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0" name="Google Shape;4980;p6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81" name="Google Shape;4981;p6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2" name="Google Shape;4982;p6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3" name="Google Shape;4983;p6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984" name="Google Shape;4984;p6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985" name="Google Shape;4985;p6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4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7" name="Google Shape;4987;p6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8" name="Google Shape;4988;p6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9" name="Google Shape;4989;p6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0" name="Google Shape;4990;p6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1" name="Google Shape;4991;p6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2" name="Google Shape;4992;p6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93" name="Google Shape;4993;p6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94" name="Google Shape;4994;p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95" name="Google Shape;4995;p6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96" name="Google Shape;4996;p6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7" name="Google Shape;4997;p6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98" name="Google Shape;4998;p6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0" name="Google Shape;5000;p6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1" name="Google Shape;5001;p6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2" name="Google Shape;5002;p6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03" name="Google Shape;5003;p6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04" name="Google Shape;5004;p6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5" name="Google Shape;5005;p6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06" name="Google Shape;5006;p6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07" name="Google Shape;5007;p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08" name="Google Shape;5008;p6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09" name="Google Shape;5009;p6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10" name="Google Shape;5010;p6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11" name="Google Shape;5011;p6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 2">
    <p:spTree>
      <p:nvGrpSpPr>
        <p:cNvPr id="1" name="Shape 5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3" name="Google Shape;5013;p6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4" name="Google Shape;5014;p6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5" name="Google Shape;5015;p6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16" name="Google Shape;5016;p6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17" name="Google Shape;5017;p6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018" name="Google Shape;5018;p6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9" name="Google Shape;5019;p6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0" name="Google Shape;5020;p6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 2">
    <p:bg>
      <p:bgPr>
        <a:solidFill>
          <a:schemeClr val="lt2"/>
        </a:solidFill>
        <a:effectLst/>
      </p:bgPr>
    </p:bg>
    <p:spTree>
      <p:nvGrpSpPr>
        <p:cNvPr id="1" name="Shape 5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2" name="Google Shape;5022;p6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023" name="Google Shape;5023;p6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4" name="Google Shape;5024;p6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5" name="Google Shape;5025;p6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6" name="Google Shape;5026;p6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27" name="Google Shape;5027;p6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8" name="Google Shape;5028;p6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 2">
    <p:spTree>
      <p:nvGrpSpPr>
        <p:cNvPr id="1" name="Shape 5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0" name="Google Shape;5030;p7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31" name="Google Shape;5031;p7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32" name="Google Shape;5032;p7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33" name="Google Shape;5033;p7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4" name="Google Shape;5034;p7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35" name="Google Shape;5035;p7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036" name="Google Shape;5036;p7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4">
    <p:spTree>
      <p:nvGrpSpPr>
        <p:cNvPr id="1" name="Shape 5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8" name="Google Shape;5038;p7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9" name="Google Shape;5039;p7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0" name="Google Shape;5040;p7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1" name="Google Shape;5041;p7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42" name="Google Shape;5042;p7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3" name="Google Shape;5043;p7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44" name="Google Shape;5044;p7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45" name="Google Shape;5045;p7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6" name="Google Shape;5046;p7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47" name="Google Shape;5047;p7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8" name="Google Shape;5048;p7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49" name="Google Shape;5049;p7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5">
    <p:spTree>
      <p:nvGrpSpPr>
        <p:cNvPr id="1" name="Shape 5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1" name="Google Shape;5051;p7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2" name="Google Shape;5052;p7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53" name="Google Shape;5053;p7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4" name="Google Shape;5054;p7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55" name="Google Shape;5055;p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56" name="Google Shape;5056;p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57" name="Google Shape;5057;p7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58" name="Google Shape;5058;p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59" name="Google Shape;5059;p7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60" name="Google Shape;5060;p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1" name="Google Shape;5061;p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62" name="Google Shape;5062;p7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6">
    <p:spTree>
      <p:nvGrpSpPr>
        <p:cNvPr id="1" name="Shape 5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4" name="Google Shape;5064;p7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5" name="Google Shape;5065;p7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6" name="Google Shape;5066;p7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7" name="Google Shape;5067;p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68" name="Google Shape;5068;p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9" name="Google Shape;5069;p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70" name="Google Shape;5070;p7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71" name="Google Shape;5071;p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72" name="Google Shape;5072;p7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73" name="Google Shape;5073;p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4" name="Google Shape;5074;p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75" name="Google Shape;5075;p7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 2">
    <p:spTree>
      <p:nvGrpSpPr>
        <p:cNvPr id="1" name="Shape 5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7" name="Google Shape;5077;p7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8" name="Google Shape;5078;p7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79" name="Google Shape;5079;p7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80" name="Google Shape;5080;p7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81" name="Google Shape;5081;p7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82" name="Google Shape;5082;p7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3" name="Google Shape;5083;p7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84" name="Google Shape;5084;p7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85" name="Google Shape;5085;p7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86" name="Google Shape;5086;p7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87" name="Google Shape;5087;p7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5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89" name="Google Shape;5089;p7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90" name="Google Shape;5090;p7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1" name="Google Shape;5091;p7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92" name="Google Shape;5092;p7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3" name="Google Shape;5093;p7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94" name="Google Shape;5094;p7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5" name="Google Shape;5095;p7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6" name="Google Shape;5096;p7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7" name="Google Shape;5097;p7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8" name="Google Shape;5098;p7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9" name="Google Shape;5099;p7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00" name="Google Shape;5100;p7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01" name="Google Shape;5101;p7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5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03" name="Google Shape;5103;p7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4" name="Google Shape;5104;p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05" name="Google Shape;5105;p7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06" name="Google Shape;5106;p7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7" name="Google Shape;5107;p7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08" name="Google Shape;5108;p7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09" name="Google Shape;5109;p7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10" name="Google Shape;5110;p7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1" name="Google Shape;5111;p7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3">
    <p:spTree>
      <p:nvGrpSpPr>
        <p:cNvPr id="1" name="Shape 5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13" name="Google Shape;5113;p7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114" name="Google Shape;5114;p7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15" name="Google Shape;5115;p7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16" name="Google Shape;5116;p7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7" name="Google Shape;5117;p7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8" name="Google Shape;5118;p7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19" name="Google Shape;5119;p7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120" name="Google Shape;5120;p7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5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Google Shape;5122;p7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3" name="Google Shape;5123;p7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24" name="Google Shape;5124;p7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5" name="Google Shape;5125;p7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26" name="Google Shape;5126;p7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27" name="Google Shape;5127;p7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28" name="Google Shape;5128;p7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29" name="Google Shape;5129;p7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30" name="Google Shape;5130;p7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31" name="Google Shape;5131;p7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2" name="Google Shape;5132;p7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33" name="Google Shape;5133;p7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5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5" name="Google Shape;5135;p70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6" name="Google Shape;5136;p70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" name="Google Shape;5137;p7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8" name="Google Shape;5138;p7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9" name="Google Shape;5139;p7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0" name="Google Shape;5140;p7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41" name="Google Shape;5141;p7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42" name="Google Shape;5142;p7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3" name="Google Shape;5143;p7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44" name="Google Shape;5144;p7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5" name="Google Shape;5145;p7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46" name="Google Shape;5146;p70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5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8" name="Google Shape;5148;p7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9" name="Google Shape;5149;p7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50" name="Google Shape;5150;p7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1" name="Google Shape;5151;p7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52" name="Google Shape;5152;p7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53" name="Google Shape;5153;p7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54" name="Google Shape;5154;p7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55" name="Google Shape;5155;p7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56" name="Google Shape;5156;p7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57" name="Google Shape;5157;p7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8" name="Google Shape;5158;p7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59" name="Google Shape;5159;p7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5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1" name="Google Shape;5161;p7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2" name="Google Shape;5162;p7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3" name="Google Shape;5163;p7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4" name="Google Shape;5164;p7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5" name="Google Shape;5165;p7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66" name="Google Shape;5166;p7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67" name="Google Shape;5167;p7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68" name="Google Shape;5168;p7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69" name="Google Shape;5169;p7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70" name="Google Shape;5170;p7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1" name="Google Shape;5171;p7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72" name="Google Shape;5172;p7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5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4" name="Google Shape;5174;p7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5" name="Google Shape;5175;p7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76" name="Google Shape;5176;p7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7" name="Google Shape;5177;p7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8" name="Google Shape;5178;p7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9" name="Google Shape;5179;p7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80" name="Google Shape;5180;p7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81" name="Google Shape;5181;p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2" name="Google Shape;5182;p7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83" name="Google Shape;5183;p7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84" name="Google Shape;5184;p7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85" name="Google Shape;5185;p7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5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7" name="Google Shape;5187;p7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8" name="Google Shape;5188;p7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9" name="Google Shape;5189;p7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0" name="Google Shape;5190;p7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91" name="Google Shape;5191;p7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2" name="Google Shape;5192;p7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93" name="Google Shape;5193;p7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4" name="Google Shape;5194;p7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95" name="Google Shape;5195;p7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6" name="Google Shape;5196;p7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7" name="Google Shape;5197;p7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98" name="Google Shape;5198;p7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5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0" name="Google Shape;5200;p7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1" name="Google Shape;5201;p7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2" name="Google Shape;5202;p7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03" name="Google Shape;5203;p7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04" name="Google Shape;5204;p7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05" name="Google Shape;5205;p7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06" name="Google Shape;5206;p7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07" name="Google Shape;5207;p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5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09" name="Google Shape;5209;p7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10" name="Google Shape;5210;p7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1" name="Google Shape;5211;p7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2" name="Google Shape;5212;p7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3" name="Google Shape;5213;p7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14" name="Google Shape;5214;p7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5" name="Google Shape;5215;p7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5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" name="Google Shape;5217;p7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18" name="Google Shape;5218;p7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19" name="Google Shape;5219;p7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20" name="Google Shape;5220;p7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1" name="Google Shape;5221;p7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22" name="Google Shape;5222;p7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23" name="Google Shape;5223;p7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2">
    <p:spTree>
      <p:nvGrpSpPr>
        <p:cNvPr id="1" name="Shape 5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5" name="Google Shape;5225;p7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6" name="Google Shape;5226;p7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7" name="Google Shape;5227;p7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8" name="Google Shape;5228;p7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29" name="Google Shape;5229;p7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30" name="Google Shape;5230;p7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31" name="Google Shape;5231;p7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32" name="Google Shape;5232;p7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33" name="Google Shape;5233;p7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34" name="Google Shape;5234;p7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5" name="Google Shape;5235;p7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6" name="Google Shape;5236;p7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3">
    <p:spTree>
      <p:nvGrpSpPr>
        <p:cNvPr id="1" name="Shape 5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8" name="Google Shape;5238;p7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9" name="Google Shape;5239;p7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0" name="Google Shape;5240;p7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41" name="Google Shape;5241;p7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42" name="Google Shape;5242;p7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3" name="Google Shape;5243;p7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44" name="Google Shape;5244;p7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45" name="Google Shape;5245;p7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46" name="Google Shape;5246;p7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47" name="Google Shape;5247;p7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8" name="Google Shape;5248;p7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49" name="Google Shape;5249;p7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2">
    <p:spTree>
      <p:nvGrpSpPr>
        <p:cNvPr id="1" name="Shape 5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51" name="Google Shape;5251;p7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52" name="Google Shape;5252;p7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53" name="Google Shape;5253;p7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54" name="Google Shape;5254;p7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5" name="Google Shape;5255;p7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56" name="Google Shape;5256;p7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7" name="Google Shape;5257;p7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58" name="Google Shape;5258;p7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9" name="Google Shape;5259;p7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0" name="Google Shape;5260;p7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61" name="Google Shape;5261;p7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62" name="Google Shape;5262;p7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3" name="Google Shape;5263;p7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2">
    <p:spTree>
      <p:nvGrpSpPr>
        <p:cNvPr id="1" name="Shape 5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5" name="Google Shape;5265;p7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66" name="Google Shape;5266;p7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67" name="Google Shape;5267;p7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68" name="Google Shape;5268;p7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9" name="Google Shape;5269;p7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70" name="Google Shape;5270;p7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1" name="Google Shape;5271;p7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72" name="Google Shape;5272;p7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73" name="Google Shape;5273;p7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 2">
    <p:spTree>
      <p:nvGrpSpPr>
        <p:cNvPr id="1" name="Shape 5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5" name="Google Shape;5275;p7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6" name="Google Shape;5276;p7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7" name="Google Shape;5277;p7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78" name="Google Shape;5278;p7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79" name="Google Shape;5279;p7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80" name="Google Shape;5280;p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1" name="Google Shape;5281;p7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2" name="Google Shape;5282;p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 2">
    <p:bg>
      <p:bgPr>
        <a:solidFill>
          <a:schemeClr val="lt2"/>
        </a:solidFill>
        <a:effectLst/>
      </p:bgPr>
    </p:bg>
    <p:spTree>
      <p:nvGrpSpPr>
        <p:cNvPr id="1" name="Shape 5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4" name="Google Shape;5284;p72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85" name="Google Shape;5285;p72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6" name="Google Shape;5286;p7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7" name="Google Shape;5287;p72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8" name="Google Shape;5288;p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89" name="Google Shape;5289;p72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0" name="Google Shape;5290;p72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 2">
    <p:spTree>
      <p:nvGrpSpPr>
        <p:cNvPr id="1" name="Shape 5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2" name="Google Shape;5292;p7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93" name="Google Shape;5293;p72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94" name="Google Shape;5294;p7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95" name="Google Shape;5295;p7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6" name="Google Shape;5296;p7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7" name="Google Shape;5297;p7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98" name="Google Shape;5298;p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4">
    <p:spTree>
      <p:nvGrpSpPr>
        <p:cNvPr id="1" name="Shape 5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0" name="Google Shape;5300;p7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1" name="Google Shape;5301;p7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2" name="Google Shape;5302;p7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3" name="Google Shape;5303;p7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4" name="Google Shape;5304;p7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5" name="Google Shape;5305;p7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06" name="Google Shape;5306;p7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07" name="Google Shape;5307;p7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08" name="Google Shape;5308;p7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09" name="Google Shape;5309;p7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0" name="Google Shape;5310;p7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11" name="Google Shape;5311;p7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5">
    <p:spTree>
      <p:nvGrpSpPr>
        <p:cNvPr id="1" name="Shape 5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3" name="Google Shape;5313;p7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4" name="Google Shape;5314;p7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5" name="Google Shape;5315;p7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6" name="Google Shape;5316;p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17" name="Google Shape;5317;p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8" name="Google Shape;5318;p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19" name="Google Shape;5319;p7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0" name="Google Shape;5320;p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21" name="Google Shape;5321;p7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22" name="Google Shape;5322;p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23" name="Google Shape;5323;p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24" name="Google Shape;5324;p7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6">
    <p:spTree>
      <p:nvGrpSpPr>
        <p:cNvPr id="1" name="Shape 5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6" name="Google Shape;5326;p7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7" name="Google Shape;5327;p7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8" name="Google Shape;5328;p7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9" name="Google Shape;5329;p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30" name="Google Shape;5330;p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1" name="Google Shape;5331;p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32" name="Google Shape;5332;p7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33" name="Google Shape;5333;p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4" name="Google Shape;5334;p7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35" name="Google Shape;5335;p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6" name="Google Shape;5336;p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37" name="Google Shape;5337;p7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3">
    <p:spTree>
      <p:nvGrpSpPr>
        <p:cNvPr id="1" name="Shape 5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9" name="Google Shape;5339;p7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0" name="Google Shape;5340;p7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41" name="Google Shape;5341;p7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2" name="Google Shape;5342;p7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3" name="Google Shape;5343;p7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44" name="Google Shape;5344;p7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5" name="Google Shape;5345;p7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6" name="Google Shape;5346;p7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7" name="Google Shape;5347;p7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8" name="Google Shape;5348;p7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9" name="Google Shape;5349;p7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50" name="Google Shape;5350;p7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51" name="Google Shape;5351;p7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3">
    <p:spTree>
      <p:nvGrpSpPr>
        <p:cNvPr id="1" name="Shape 5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3" name="Google Shape;5353;p7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54" name="Google Shape;5354;p7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5" name="Google Shape;5355;p7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56" name="Google Shape;5356;p7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7" name="Google Shape;5357;p7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58" name="Google Shape;5358;p7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9" name="Google Shape;5359;p7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0" name="Google Shape;5360;p7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61" name="Google Shape;5361;p7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5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3" name="Google Shape;5363;p7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64" name="Google Shape;5364;p7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5" name="Google Shape;5365;p7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66" name="Google Shape;5366;p7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67" name="Google Shape;5367;p7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368" name="Google Shape;5368;p7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9" name="Google Shape;5369;p7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0" name="Google Shape;5370;p7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2" name="Google Shape;5372;p7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373" name="Google Shape;5373;p7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4" name="Google Shape;5374;p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5" name="Google Shape;5375;p7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6" name="Google Shape;5376;p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77" name="Google Shape;5377;p7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8" name="Google Shape;5378;p7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0" name="Google Shape;5380;p73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81" name="Google Shape;5381;p73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82" name="Google Shape;5382;p73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383" name="Google Shape;5383;p73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4" name="Google Shape;5384;p73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385" name="Google Shape;5385;p73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386" name="Google Shape;5386;p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5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8" name="Google Shape;5388;p7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89" name="Google Shape;5389;p7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0" name="Google Shape;5390;p7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1" name="Google Shape;5391;p7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92" name="Google Shape;5392;p7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93" name="Google Shape;5393;p7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94" name="Google Shape;5394;p7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5" name="Google Shape;5395;p7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96" name="Google Shape;5396;p7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97" name="Google Shape;5397;p7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8" name="Google Shape;5398;p7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99" name="Google Shape;5399;p7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5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1" name="Google Shape;5401;p7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02" name="Google Shape;5402;p7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3" name="Google Shape;5403;p7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4" name="Google Shape;5404;p7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5" name="Google Shape;5405;p7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06" name="Google Shape;5406;p7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07" name="Google Shape;5407;p7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08" name="Google Shape;5408;p7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9" name="Google Shape;5409;p7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0" name="Google Shape;5410;p7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1" name="Google Shape;5411;p7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412" name="Google Shape;5412;p7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4" name="Google Shape;5414;p7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5" name="Google Shape;5415;p7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16" name="Google Shape;5416;p7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7" name="Google Shape;5417;p7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8" name="Google Shape;5418;p7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9" name="Google Shape;5419;p7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0" name="Google Shape;5420;p7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21" name="Google Shape;5421;p7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2" name="Google Shape;5422;p7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23" name="Google Shape;5423;p7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24" name="Google Shape;5424;p7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6" name="Google Shape;5426;p7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27" name="Google Shape;5427;p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8" name="Google Shape;5428;p7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29" name="Google Shape;5429;p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0" name="Google Shape;5430;p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31" name="Google Shape;5431;p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2" name="Google Shape;5432;p73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3" name="Google Shape;5433;p73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4" name="Google Shape;5434;p7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5" name="Google Shape;5435;p7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6" name="Google Shape;5436;p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37" name="Google Shape;5437;p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38" name="Google Shape;5438;p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40" name="Google Shape;5440;p7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41" name="Google Shape;5441;p7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42" name="Google Shape;5442;p7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43" name="Google Shape;5443;p7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4" name="Google Shape;5444;p7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45" name="Google Shape;5445;p7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46" name="Google Shape;5446;p7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47" name="Google Shape;5447;p7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48" name="Google Shape;5448;p7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2">
    <p:spTree>
      <p:nvGrpSpPr>
        <p:cNvPr id="1" name="Shape 5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50" name="Google Shape;5450;p73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51" name="Google Shape;5451;p73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2" name="Google Shape;5452;p73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53" name="Google Shape;5453;p73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4" name="Google Shape;5454;p73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5" name="Google Shape;5455;p73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56" name="Google Shape;5456;p7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57" name="Google Shape;5457;p7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2">
    <p:spTree>
      <p:nvGrpSpPr>
        <p:cNvPr id="1" name="Shape 5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9" name="Google Shape;5459;p7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60" name="Google Shape;5460;p7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61" name="Google Shape;5461;p7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62" name="Google Shape;5462;p7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63" name="Google Shape;5463;p7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64" name="Google Shape;5464;p7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65" name="Google Shape;5465;p7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6" name="Google Shape;5466;p7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8" name="Google Shape;5468;p73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9" name="Google Shape;5469;p73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70" name="Google Shape;5470;p739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1" name="Google Shape;5471;p73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2" name="Google Shape;5472;p73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73" name="Google Shape;5473;p7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2">
    <p:spTree>
      <p:nvGrpSpPr>
        <p:cNvPr id="1" name="Shape 5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5" name="Google Shape;5475;p74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6" name="Google Shape;5476;p74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7" name="Google Shape;5477;p74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78" name="Google Shape;5478;p7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479" name="Google Shape;5479;p74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480" name="Google Shape;5480;p7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1" name="Google Shape;5481;p74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2" name="Google Shape;5482;p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2">
    <p:bg>
      <p:bgPr>
        <a:solidFill>
          <a:schemeClr val="lt2"/>
        </a:solidFill>
        <a:effectLst/>
      </p:bgPr>
    </p:bg>
    <p:spTree>
      <p:nvGrpSpPr>
        <p:cNvPr id="1" name="Shape 5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84" name="Google Shape;5484;p7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485" name="Google Shape;5485;p7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6" name="Google Shape;5486;p7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7" name="Google Shape;5487;p7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8" name="Google Shape;5488;p7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89" name="Google Shape;5489;p7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0" name="Google Shape;5490;p7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2">
    <p:spTree>
      <p:nvGrpSpPr>
        <p:cNvPr id="1" name="Shape 5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2" name="Google Shape;5492;p7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93" name="Google Shape;5493;p7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94" name="Google Shape;5494;p7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495" name="Google Shape;5495;p7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6" name="Google Shape;5496;p7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97" name="Google Shape;5497;p7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498" name="Google Shape;5498;p7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2">
    <p:spTree>
      <p:nvGrpSpPr>
        <p:cNvPr id="1" name="Shape 5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0" name="Google Shape;5500;p7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1" name="Google Shape;5501;p7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2" name="Google Shape;5502;p7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03" name="Google Shape;5503;p7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4" name="Google Shape;5504;p7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5" name="Google Shape;5505;p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06" name="Google Shape;5506;p7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07" name="Google Shape;5507;p7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08" name="Google Shape;5508;p7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09" name="Google Shape;5509;p7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10" name="Google Shape;5510;p7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11" name="Google Shape;5511;p7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2">
    <p:spTree>
      <p:nvGrpSpPr>
        <p:cNvPr id="1" name="Shape 5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3" name="Google Shape;5513;p7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4" name="Google Shape;5514;p7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15" name="Google Shape;5515;p7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6" name="Google Shape;5516;p7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17" name="Google Shape;5517;p7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18" name="Google Shape;5518;p7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19" name="Google Shape;5519;p7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0" name="Google Shape;5520;p7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1" name="Google Shape;5521;p7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22" name="Google Shape;5522;p7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23" name="Google Shape;5523;p7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24" name="Google Shape;5524;p7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2">
    <p:spTree>
      <p:nvGrpSpPr>
        <p:cNvPr id="1" name="Shape 5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6" name="Google Shape;5526;p7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7" name="Google Shape;5527;p7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528" name="Google Shape;5528;p7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9" name="Google Shape;5529;p7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30" name="Google Shape;5530;p7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1" name="Google Shape;5531;p7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2" name="Google Shape;5532;p7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33" name="Google Shape;5533;p7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34" name="Google Shape;5534;p7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5" name="Google Shape;5535;p7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36" name="Google Shape;5536;p7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2">
    <p:spTree>
      <p:nvGrpSpPr>
        <p:cNvPr id="1" name="Shape 5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8" name="Google Shape;5538;p7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39" name="Google Shape;5539;p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40" name="Google Shape;5540;p7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41" name="Google Shape;5541;p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2" name="Google Shape;5542;p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43" name="Google Shape;5543;p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4" name="Google Shape;5544;p7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5" name="Google Shape;5545;p7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6" name="Google Shape;5546;p7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7" name="Google Shape;5547;p7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8" name="Google Shape;5548;p7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49" name="Google Shape;5549;p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50" name="Google Shape;5550;p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2">
    <p:spTree>
      <p:nvGrpSpPr>
        <p:cNvPr id="1" name="Shape 5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52" name="Google Shape;5552;p7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53" name="Google Shape;5553;p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4" name="Google Shape;5554;p7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55" name="Google Shape;5555;p7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6" name="Google Shape;5556;p7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7" name="Google Shape;5557;p7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8" name="Google Shape;5558;p7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59" name="Google Shape;5559;p7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60" name="Google Shape;5560;p7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3">
    <p:spTree>
      <p:nvGrpSpPr>
        <p:cNvPr id="1" name="Shape 5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62" name="Google Shape;5562;p1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563" name="Google Shape;5563;p1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64" name="Google Shape;5564;p1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65" name="Google Shape;5565;p1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6" name="Google Shape;5566;p1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7" name="Google Shape;5567;p1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68" name="Google Shape;5568;p1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69" name="Google Shape;5569;p1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3">
    <p:spTree>
      <p:nvGrpSpPr>
        <p:cNvPr id="1" name="Shape 5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1" name="Google Shape;5571;p7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72" name="Google Shape;5572;p7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73" name="Google Shape;5573;p7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74" name="Google Shape;5574;p7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75" name="Google Shape;5575;p7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6" name="Google Shape;5576;p7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77" name="Google Shape;5577;p7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8" name="Google Shape;5578;p7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3">
    <p:spTree>
      <p:nvGrpSpPr>
        <p:cNvPr id="1" name="Shape 5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0" name="Google Shape;5580;p123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1" name="Google Shape;5581;p123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82" name="Google Shape;5582;p123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83" name="Google Shape;5583;p12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584" name="Google Shape;5584;p123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585" name="Google Shape;5585;p12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86" name="Google Shape;5586;p12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87" name="Google Shape;5587;p12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3">
    <p:bg>
      <p:bgPr>
        <a:solidFill>
          <a:schemeClr val="lt2"/>
        </a:solidFill>
        <a:effectLst/>
      </p:bgPr>
    </p:bg>
    <p:spTree>
      <p:nvGrpSpPr>
        <p:cNvPr id="1" name="Shape 5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9" name="Google Shape;5589;p123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90" name="Google Shape;5590;p123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1" name="Google Shape;5591;p12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2" name="Google Shape;5592;p123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93" name="Google Shape;5593;p12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94" name="Google Shape;5594;p123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5" name="Google Shape;5595;p12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3">
    <p:spTree>
      <p:nvGrpSpPr>
        <p:cNvPr id="1" name="Shape 5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7" name="Google Shape;5597;p12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598" name="Google Shape;5598;p12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599" name="Google Shape;5599;p12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00" name="Google Shape;5600;p12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1" name="Google Shape;5601;p12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02" name="Google Shape;5602;p12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03" name="Google Shape;5603;p1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3">
    <p:spTree>
      <p:nvGrpSpPr>
        <p:cNvPr id="1" name="Shape 5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5" name="Google Shape;5605;p1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6" name="Google Shape;5606;p1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7" name="Google Shape;5607;p1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8" name="Google Shape;5608;p1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09" name="Google Shape;5609;p1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10" name="Google Shape;5610;p1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11" name="Google Shape;5611;p1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12" name="Google Shape;5612;p1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13" name="Google Shape;5613;p1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14" name="Google Shape;5614;p1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5" name="Google Shape;5615;p1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16" name="Google Shape;5616;p12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3">
    <p:spTree>
      <p:nvGrpSpPr>
        <p:cNvPr id="1" name="Shape 5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8" name="Google Shape;5618;p12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9" name="Google Shape;5619;p12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0" name="Google Shape;5620;p12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1" name="Google Shape;5621;p1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22" name="Google Shape;5622;p12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3" name="Google Shape;5623;p1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24" name="Google Shape;5624;p12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25" name="Google Shape;5625;p12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26" name="Google Shape;5626;p12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27" name="Google Shape;5627;p12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8" name="Google Shape;5628;p12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29" name="Google Shape;5629;p12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3">
    <p:spTree>
      <p:nvGrpSpPr>
        <p:cNvPr id="1" name="Shape 5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1" name="Google Shape;5631;p7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32" name="Google Shape;5632;p7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633" name="Google Shape;5633;p7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34" name="Google Shape;5634;p7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35" name="Google Shape;5635;p7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36" name="Google Shape;5636;p7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7" name="Google Shape;5637;p7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38" name="Google Shape;5638;p7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9" name="Google Shape;5639;p7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40" name="Google Shape;5640;p7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41" name="Google Shape;5641;p7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3">
    <p:spTree>
      <p:nvGrpSpPr>
        <p:cNvPr id="1" name="Shape 5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3" name="Google Shape;5643;p12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44" name="Google Shape;5644;p12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45" name="Google Shape;5645;p12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46" name="Google Shape;5646;p12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7" name="Google Shape;5647;p12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48" name="Google Shape;5648;p12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9" name="Google Shape;5649;p124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0" name="Google Shape;5650;p124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1" name="Google Shape;5651;p12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2" name="Google Shape;5652;p12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3" name="Google Shape;5653;p1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54" name="Google Shape;5654;p12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55" name="Google Shape;5655;p1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3">
    <p:spTree>
      <p:nvGrpSpPr>
        <p:cNvPr id="1" name="Shape 5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57" name="Google Shape;5657;p7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8" name="Google Shape;5658;p7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59" name="Google Shape;5659;p7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60" name="Google Shape;5660;p7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1" name="Google Shape;5661;p7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62" name="Google Shape;5662;p7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3" name="Google Shape;5663;p7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4" name="Google Shape;5664;p7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65" name="Google Shape;5665;p7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4"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67" name="Google Shape;5667;p7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68" name="Google Shape;5668;p7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69" name="Google Shape;5669;p7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70" name="Google Shape;5670;p7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1" name="Google Shape;5671;p7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2" name="Google Shape;5672;p7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73" name="Google Shape;5673;p7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674" name="Google Shape;5674;p7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4">
    <p:spTree>
      <p:nvGrpSpPr>
        <p:cNvPr id="1" name="Shape 5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6" name="Google Shape;5676;p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77" name="Google Shape;5677;p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8" name="Google Shape;5678;p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79" name="Google Shape;5679;p7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80" name="Google Shape;5680;p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81" name="Google Shape;5681;p7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82" name="Google Shape;5682;p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3" name="Google Shape;5683;p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5" name="Google Shape;5685;p7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86" name="Google Shape;5686;p7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7" name="Google Shape;5687;p7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8" name="Google Shape;5688;p7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689" name="Google Shape;5689;p7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690" name="Google Shape;5690;p7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1" name="Google Shape;5691;p7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3" name="Google Shape;5693;p7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94" name="Google Shape;5694;p7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95" name="Google Shape;5695;p7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96" name="Google Shape;5696;p7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97" name="Google Shape;5697;p7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98" name="Google Shape;5698;p7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99" name="Google Shape;5699;p7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1" name="Google Shape;5701;p7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2" name="Google Shape;5702;p7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3" name="Google Shape;5703;p7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4" name="Google Shape;5704;p7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05" name="Google Shape;5705;p7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06" name="Google Shape;5706;p7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7" name="Google Shape;5707;p7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08" name="Google Shape;5708;p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10" name="Google Shape;5710;p7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11" name="Google Shape;5711;p7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12" name="Google Shape;5712;p7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13" name="Google Shape;5713;p7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4" name="Google Shape;5714;p7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15" name="Google Shape;5715;p7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6" name="Google Shape;5716;p7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7" name="Google Shape;5717;p7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8" name="Google Shape;5718;p7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19" name="Google Shape;5719;p7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5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1" name="Google Shape;5721;p7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2" name="Google Shape;5722;p7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23" name="Google Shape;5723;p7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24" name="Google Shape;5724;p7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25" name="Google Shape;5725;p7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26" name="Google Shape;5726;p7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27" name="Google Shape;5727;p7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28" name="Google Shape;5728;p7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9" name="Google Shape;5729;p7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30" name="Google Shape;5730;p7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31" name="Google Shape;5731;p7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3" name="Google Shape;5733;p7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34" name="Google Shape;5734;p7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5" name="Google Shape;5735;p7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36" name="Google Shape;5736;p7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37" name="Google Shape;5737;p7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38" name="Google Shape;5738;p7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9" name="Google Shape;5739;p7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0" name="Google Shape;5740;p7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1" name="Google Shape;5741;p7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2" name="Google Shape;5742;p7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3" name="Google Shape;5743;p7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44" name="Google Shape;5744;p7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5" name="Google Shape;5745;p7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5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7" name="Google Shape;5747;p7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8" name="Google Shape;5748;p7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9" name="Google Shape;5749;p7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0" name="Google Shape;5750;p7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51" name="Google Shape;5751;p7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52" name="Google Shape;5752;p7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53" name="Google Shape;5753;p7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54" name="Google Shape;5754;p7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55" name="Google Shape;5755;p7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56" name="Google Shape;5756;p7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7" name="Google Shape;5757;p7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58" name="Google Shape;5758;p7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2">
    <p:spTree>
      <p:nvGrpSpPr>
        <p:cNvPr id="1" name="Shape 5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0" name="Google Shape;5760;p7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1" name="Google Shape;5761;p7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62" name="Google Shape;5762;p7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3" name="Google Shape;5763;p7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64" name="Google Shape;5764;p7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65" name="Google Shape;5765;p7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66" name="Google Shape;5766;p7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67" name="Google Shape;5767;p7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68" name="Google Shape;5768;p7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69" name="Google Shape;5769;p7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70" name="Google Shape;5770;p7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71" name="Google Shape;5771;p7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73" name="Google Shape;5773;p7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74" name="Google Shape;5774;p7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5" name="Google Shape;5775;p7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6" name="Google Shape;5776;p7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7" name="Google Shape;5777;p7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8" name="Google Shape;5778;p7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79" name="Google Shape;5779;p7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80" name="Google Shape;5780;p7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2" name="Google Shape;5782;p7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83" name="Google Shape;5783;p7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4" name="Google Shape;5784;p7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85" name="Google Shape;5785;p7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6" name="Google Shape;5786;p7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87" name="Google Shape;5787;p7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88" name="Google Shape;5788;p7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9" name="Google Shape;5789;p7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0" name="Google Shape;5790;p7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5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92" name="Google Shape;5792;p124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93" name="Google Shape;5793;p124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4" name="Google Shape;5794;p124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95" name="Google Shape;5795;p124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6" name="Google Shape;5796;p124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7" name="Google Shape;5797;p124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98" name="Google Shape;5798;p1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99" name="Google Shape;5799;p12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2">
    <p:spTree>
      <p:nvGrpSpPr>
        <p:cNvPr id="1" name="Shape 5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1" name="Google Shape;5801;p7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02" name="Google Shape;5802;p7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03" name="Google Shape;5803;p7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04" name="Google Shape;5804;p7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05" name="Google Shape;5805;p7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06" name="Google Shape;5806;p7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07" name="Google Shape;5807;p7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8" name="Google Shape;5808;p7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0" name="Google Shape;5810;p7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11" name="Google Shape;5811;p7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2" name="Google Shape;5812;p7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3" name="Google Shape;5813;p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14" name="Google Shape;5814;p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15" name="Google Shape;5815;p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16" name="Google Shape;5816;p7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17" name="Google Shape;5817;p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18" name="Google Shape;5818;p7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19" name="Google Shape;5819;p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20" name="Google Shape;5820;p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21" name="Google Shape;5821;p7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2">
    <p:spTree>
      <p:nvGrpSpPr>
        <p:cNvPr id="1" name="Shape 5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3" name="Google Shape;5823;p7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4" name="Google Shape;5824;p7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5" name="Google Shape;5825;p7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6" name="Google Shape;5826;p7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27" name="Google Shape;5827;p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8" name="Google Shape;5828;p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29" name="Google Shape;5829;p7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30" name="Google Shape;5830;p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31" name="Google Shape;5831;p7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32" name="Google Shape;5832;p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33" name="Google Shape;5833;p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34" name="Google Shape;5834;p7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5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" name="Google Shape;5836;p7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7" name="Google Shape;5837;p7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8" name="Google Shape;5838;p7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39" name="Google Shape;5839;p7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40" name="Google Shape;5840;p7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41" name="Google Shape;5841;p7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2" name="Google Shape;5842;p7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3" name="Google Shape;5843;p7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5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45" name="Google Shape;5845;p7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46" name="Google Shape;5846;p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7" name="Google Shape;5847;p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8" name="Google Shape;5848;p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9" name="Google Shape;5849;p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50" name="Google Shape;5850;p7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51" name="Google Shape;5851;p7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5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3" name="Google Shape;5853;p7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854" name="Google Shape;5854;p7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855" name="Google Shape;5855;p7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856" name="Google Shape;5856;p7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7" name="Google Shape;5857;p7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58" name="Google Shape;5858;p7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59" name="Google Shape;5859;p7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1" name="Google Shape;5861;p7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2" name="Google Shape;5862;p7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3" name="Google Shape;5863;p7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4" name="Google Shape;5864;p7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65" name="Google Shape;5865;p7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66" name="Google Shape;5866;p7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67" name="Google Shape;5867;p7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68" name="Google Shape;5868;p7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69" name="Google Shape;5869;p7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70" name="Google Shape;5870;p7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71" name="Google Shape;5871;p7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72" name="Google Shape;5872;p7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9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9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5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4" name="Google Shape;5874;p7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5" name="Google Shape;5875;p7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6" name="Google Shape;5876;p7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77" name="Google Shape;5877;p7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78" name="Google Shape;5878;p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79" name="Google Shape;5879;p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80" name="Google Shape;5880;p7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81" name="Google Shape;5881;p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2" name="Google Shape;5882;p7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83" name="Google Shape;5883;p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84" name="Google Shape;5884;p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85" name="Google Shape;5885;p7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2">
    <p:spTree>
      <p:nvGrpSpPr>
        <p:cNvPr id="1" name="Shape 5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7" name="Google Shape;5887;p12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88" name="Google Shape;5888;p12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9" name="Google Shape;5889;p12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90" name="Google Shape;5890;p12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91" name="Google Shape;5891;p12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92" name="Google Shape;5892;p12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93" name="Google Shape;5893;p12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94" name="Google Shape;5894;p12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95" name="Google Shape;5895;p12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6" name="Google Shape;5896;p12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97" name="Google Shape;5897;p12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98" name="Google Shape;5898;p12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2">
    <p:spTree>
      <p:nvGrpSpPr>
        <p:cNvPr id="1" name="Shape 5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0" name="Google Shape;5900;p7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01" name="Google Shape;5901;p7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2" name="Google Shape;5902;p7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3" name="Google Shape;5903;p7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04" name="Google Shape;5904;p7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05" name="Google Shape;5905;p7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06" name="Google Shape;5906;p7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7" name="Google Shape;5907;p7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08" name="Google Shape;5908;p7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09" name="Google Shape;5909;p7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0" name="Google Shape;5910;p7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11" name="Google Shape;5911;p7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5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13" name="Google Shape;5913;p12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14" name="Google Shape;5914;p12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5" name="Google Shape;5915;p12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16" name="Google Shape;5916;p12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7" name="Google Shape;5917;p12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18" name="Google Shape;5918;p12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9" name="Google Shape;5919;p12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0" name="Google Shape;5920;p12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1" name="Google Shape;5921;p12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22" name="Google Shape;5922;p12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5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4" name="Google Shape;5924;p7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5" name="Google Shape;5925;p7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926" name="Google Shape;5926;p7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27" name="Google Shape;5927;p7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28" name="Google Shape;5928;p7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9" name="Google Shape;5929;p7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0" name="Google Shape;5930;p7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31" name="Google Shape;5931;p7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2" name="Google Shape;5932;p7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33" name="Google Shape;5933;p7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4" name="Google Shape;5934;p7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5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6" name="Google Shape;5936;p12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37" name="Google Shape;5937;p12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38" name="Google Shape;5938;p12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39" name="Google Shape;5939;p12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40" name="Google Shape;5940;p12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1" name="Google Shape;5941;p12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2" name="Google Shape;5942;p124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3" name="Google Shape;5943;p124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4" name="Google Shape;5944;p12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5" name="Google Shape;5945;p12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6" name="Google Shape;5946;p1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47" name="Google Shape;5947;p12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48" name="Google Shape;5948;p1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5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50" name="Google Shape;5950;p7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51" name="Google Shape;5951;p7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2" name="Google Shape;5952;p7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53" name="Google Shape;5953;p7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54" name="Google Shape;5954;p7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55" name="Google Shape;5955;p7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6" name="Google Shape;5956;p7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57" name="Google Shape;5957;p7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58" name="Google Shape;5958;p7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5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60" name="Google Shape;5960;p12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961" name="Google Shape;5961;p12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62" name="Google Shape;5962;p12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63" name="Google Shape;5963;p124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4" name="Google Shape;5964;p12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5" name="Google Shape;5965;p12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966" name="Google Shape;5966;p1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967" name="Google Shape;5967;p12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" name="Google Shape;5969;p12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70" name="Google Shape;5970;p12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1" name="Google Shape;5971;p12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72" name="Google Shape;5972;p12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73" name="Google Shape;5973;p12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4" name="Google Shape;5974;p12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75" name="Google Shape;5975;p12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6" name="Google Shape;5976;p12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5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8" name="Google Shape;5978;p7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79" name="Google Shape;5979;p7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0" name="Google Shape;5980;p7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81" name="Google Shape;5981;p7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82" name="Google Shape;5982;p7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83" name="Google Shape;5983;p7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4" name="Google Shape;5984;p7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85" name="Google Shape;5985;p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5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7" name="Google Shape;5987;p7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988" name="Google Shape;5988;p7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9" name="Google Shape;5989;p7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0" name="Google Shape;5990;p7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1" name="Google Shape;5991;p7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92" name="Google Shape;5992;p7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3" name="Google Shape;5993;p7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5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5" name="Google Shape;5995;p7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96" name="Google Shape;5996;p7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7" name="Google Shape;5997;p7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8" name="Google Shape;5998;p7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99" name="Google Shape;5999;p7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00" name="Google Shape;6000;p7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01" name="Google Shape;6001;p7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2" name="Google Shape;6002;p7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03" name="Google Shape;6003;p7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04" name="Google Shape;6004;p7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05" name="Google Shape;6005;p7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06" name="Google Shape;6006;p7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2">
    <p:spTree>
      <p:nvGrpSpPr>
        <p:cNvPr id="1" name="Shape 6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8" name="Google Shape;6008;p7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09" name="Google Shape;6009;p7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10" name="Google Shape;6010;p7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1" name="Google Shape;6011;p7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2" name="Google Shape;6012;p7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13" name="Google Shape;6013;p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14" name="Google Shape;6014;p7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15" name="Google Shape;6015;p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6" name="Google Shape;6016;p7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17" name="Google Shape;6017;p7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18" name="Google Shape;6018;p7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19" name="Google Shape;6019;p7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6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21" name="Google Shape;6021;p7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22" name="Google Shape;6022;p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3" name="Google Shape;6023;p7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4" name="Google Shape;6024;p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5" name="Google Shape;6025;p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26" name="Google Shape;6026;p7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7" name="Google Shape;6027;p7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28" name="Google Shape;6028;p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29" name="Google Shape;6029;p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30" name="Google Shape;6030;p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2" name="Google Shape;6032;p7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3" name="Google Shape;6033;p7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34" name="Google Shape;6034;p7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35" name="Google Shape;6035;p7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36" name="Google Shape;6036;p7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37" name="Google Shape;6037;p7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8" name="Google Shape;6038;p7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9" name="Google Shape;6039;p7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0" name="Google Shape;6040;p7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41" name="Google Shape;6041;p7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42" name="Google Shape;6042;p7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6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4" name="Google Shape;6044;p12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45" name="Google Shape;6045;p12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46" name="Google Shape;6046;p12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47" name="Google Shape;6047;p12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8" name="Google Shape;6048;p12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9" name="Google Shape;6049;p12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0" name="Google Shape;6050;p12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1" name="Google Shape;6051;p12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2" name="Google Shape;6052;p12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3" name="Google Shape;6053;p12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4" name="Google Shape;6054;p12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5" name="Google Shape;6055;p12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56" name="Google Shape;6056;p12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6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8" name="Google Shape;6058;p79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59" name="Google Shape;6059;p79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60" name="Google Shape;6060;p79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61" name="Google Shape;6061;p79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2" name="Google Shape;6062;p79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3" name="Google Shape;6063;p79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64" name="Google Shape;6064;p7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6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66" name="Google Shape;6066;p7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67" name="Google Shape;6067;p7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8" name="Google Shape;6068;p7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9" name="Google Shape;6069;p7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70" name="Google Shape;6070;p7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1" name="Google Shape;6071;p7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072" name="Google Shape;6072;p7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073" name="Google Shape;6073;p7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5" name="Google Shape;6075;p7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76" name="Google Shape;6076;p7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77" name="Google Shape;6077;p7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78" name="Google Shape;6078;p7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9" name="Google Shape;6079;p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0" name="Google Shape;6080;p7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1" name="Google Shape;6081;p7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2" name="Google Shape;6082;p7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6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4" name="Google Shape;6084;p7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5" name="Google Shape;6085;p7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6" name="Google Shape;6086;p7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7" name="Google Shape;6087;p7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8" name="Google Shape;6088;p7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89" name="Google Shape;6089;p7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0" name="Google Shape;6090;p7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91" name="Google Shape;6091;p7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92" name="Google Shape;6092;p7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2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2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2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2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2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 2">
    <p:bg>
      <p:bgPr>
        <a:solidFill>
          <a:schemeClr val="lt2"/>
        </a:solidFill>
        <a:effectLst/>
      </p:bgPr>
    </p:bg>
    <p:spTree>
      <p:nvGrpSpPr>
        <p:cNvPr id="1" name="Shape 6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4" name="Google Shape;6094;p7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095" name="Google Shape;6095;p7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6" name="Google Shape;6096;p7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7" name="Google Shape;6097;p7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98" name="Google Shape;6098;p7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099" name="Google Shape;6099;p7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0" name="Google Shape;6100;p7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 2">
    <p:spTree>
      <p:nvGrpSpPr>
        <p:cNvPr id="1" name="Shape 6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2" name="Google Shape;6102;p79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103" name="Google Shape;6103;p7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104" name="Google Shape;6104;p79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105" name="Google Shape;6105;p7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6" name="Google Shape;6106;p7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07" name="Google Shape;6107;p7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108" name="Google Shape;6108;p7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 2">
    <p:spTree>
      <p:nvGrpSpPr>
        <p:cNvPr id="1" name="Shape 6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0" name="Google Shape;6110;p8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1" name="Google Shape;6111;p8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2" name="Google Shape;6112;p8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13" name="Google Shape;6113;p8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114" name="Google Shape;6114;p8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115" name="Google Shape;6115;p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16" name="Google Shape;6116;p8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17" name="Google Shape;6117;p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 2">
    <p:spTree>
      <p:nvGrpSpPr>
        <p:cNvPr id="1" name="Shape 6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19" name="Google Shape;6119;p8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20" name="Google Shape;6120;p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21" name="Google Shape;6121;p8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22" name="Google Shape;6122;p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23" name="Google Shape;6123;p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24" name="Google Shape;6124;p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5" name="Google Shape;6125;p8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6" name="Google Shape;6126;p8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27" name="Google Shape;6127;p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28" name="Google Shape;6128;p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 2">
    <p:spTree>
      <p:nvGrpSpPr>
        <p:cNvPr id="1" name="Shape 6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0" name="Google Shape;6130;p8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1" name="Google Shape;6131;p8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132" name="Google Shape;6132;p8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33" name="Google Shape;6133;p8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34" name="Google Shape;6134;p8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35" name="Google Shape;6135;p8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6" name="Google Shape;6136;p8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37" name="Google Shape;6137;p8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8" name="Google Shape;6138;p8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9" name="Google Shape;6139;p8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0" name="Google Shape;6140;p8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 2">
    <p:spTree>
      <p:nvGrpSpPr>
        <p:cNvPr id="1" name="Shape 6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2" name="Google Shape;6142;p8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3" name="Google Shape;6143;p8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44" name="Google Shape;6144;p8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45" name="Google Shape;6145;p8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46" name="Google Shape;6146;p8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47" name="Google Shape;6147;p8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8" name="Google Shape;6148;p8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49" name="Google Shape;6149;p8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0" name="Google Shape;6150;p8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51" name="Google Shape;6151;p8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2" name="Google Shape;6152;p8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3" name="Google Shape;6153;p8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54" name="Google Shape;6154;p8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3">
    <p:spTree>
      <p:nvGrpSpPr>
        <p:cNvPr id="1" name="Shape 6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6" name="Google Shape;6156;p8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7" name="Google Shape;6157;p8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8" name="Google Shape;6158;p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9" name="Google Shape;6159;p8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60" name="Google Shape;6160;p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61" name="Google Shape;6161;p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62" name="Google Shape;6162;p8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63" name="Google Shape;6163;p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4" name="Google Shape;6164;p8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5" name="Google Shape;6165;p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66" name="Google Shape;6166;p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67" name="Google Shape;6167;p8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4">
    <p:spTree>
      <p:nvGrpSpPr>
        <p:cNvPr id="1" name="Shape 6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9" name="Google Shape;6169;p8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70" name="Google Shape;6170;p8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1" name="Google Shape;6171;p8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2" name="Google Shape;6172;p8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73" name="Google Shape;6173;p8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74" name="Google Shape;6174;p8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75" name="Google Shape;6175;p8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6" name="Google Shape;6176;p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77" name="Google Shape;6177;p8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78" name="Google Shape;6178;p8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9" name="Google Shape;6179;p8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80" name="Google Shape;6180;p8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5">
    <p:spTree>
      <p:nvGrpSpPr>
        <p:cNvPr id="1" name="Shape 6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2" name="Google Shape;6182;p8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83" name="Google Shape;6183;p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4" name="Google Shape;6184;p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85" name="Google Shape;6185;p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6" name="Google Shape;6186;p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87" name="Google Shape;6187;p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88" name="Google Shape;6188;p8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89" name="Google Shape;6189;p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90" name="Google Shape;6190;p8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1" name="Google Shape;6191;p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92" name="Google Shape;6192;p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93" name="Google Shape;6193;p8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 2">
    <p:spTree>
      <p:nvGrpSpPr>
        <p:cNvPr id="1" name="Shape 6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5" name="Google Shape;6195;p8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96" name="Google Shape;6196;p8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97" name="Google Shape;6197;p8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98" name="Google Shape;6198;p8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99" name="Google Shape;6199;p8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0" name="Google Shape;6200;p8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01" name="Google Shape;6201;p8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02" name="Google Shape;6202;p8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2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2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2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2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2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2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 2">
    <p:spTree>
      <p:nvGrpSpPr>
        <p:cNvPr id="1" name="Shape 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04" name="Google Shape;6204;p12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05" name="Google Shape;6205;p12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06" name="Google Shape;6206;p12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07" name="Google Shape;6207;p12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8" name="Google Shape;6208;p12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09" name="Google Shape;6209;p12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10" name="Google Shape;6210;p12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11" name="Google Shape;6211;p12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2" name="Google Shape;6212;p12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 2">
    <p:spTree>
      <p:nvGrpSpPr>
        <p:cNvPr id="1" name="Shape 6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14" name="Google Shape;6214;p80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215" name="Google Shape;6215;p80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6" name="Google Shape;6216;p80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17" name="Google Shape;6217;p80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18" name="Google Shape;6218;p80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9" name="Google Shape;6219;p80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20" name="Google Shape;6220;p8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21" name="Google Shape;6221;p8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3">
    <p:spTree>
      <p:nvGrpSpPr>
        <p:cNvPr id="1" name="Shape 6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3" name="Google Shape;6223;p1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24" name="Google Shape;6224;p12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5" name="Google Shape;6225;p1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26" name="Google Shape;6226;p12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27" name="Google Shape;6227;p12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8" name="Google Shape;6228;p12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29" name="Google Shape;6229;p12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30" name="Google Shape;6230;p12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3">
    <p:spTree>
      <p:nvGrpSpPr>
        <p:cNvPr id="1" name="Shape 6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2" name="Google Shape;6232;p8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3" name="Google Shape;6233;p8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34" name="Google Shape;6234;p8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35" name="Google Shape;6235;p8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36" name="Google Shape;6236;p8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37" name="Google Shape;6237;p8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38" name="Google Shape;6238;p8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39" name="Google Shape;6239;p8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40" name="Google Shape;6240;p8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41" name="Google Shape;6241;p8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2" name="Google Shape;6242;p8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43" name="Google Shape;6243;p8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4">
    <p:spTree>
      <p:nvGrpSpPr>
        <p:cNvPr id="1" name="Shape 6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5" name="Google Shape;6245;p8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6" name="Google Shape;6246;p8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7" name="Google Shape;6247;p8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8" name="Google Shape;6248;p8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49" name="Google Shape;6249;p8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50" name="Google Shape;6250;p8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51" name="Google Shape;6251;p8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52" name="Google Shape;6252;p8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53" name="Google Shape;6253;p8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54" name="Google Shape;6254;p8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55" name="Google Shape;6255;p8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56" name="Google Shape;6256;p8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5">
    <p:spTree>
      <p:nvGrpSpPr>
        <p:cNvPr id="1" name="Shape 6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8" name="Google Shape;6258;p8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9" name="Google Shape;6259;p8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0" name="Google Shape;6260;p8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1" name="Google Shape;6261;p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2" name="Google Shape;6262;p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63" name="Google Shape;6263;p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64" name="Google Shape;6264;p8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65" name="Google Shape;6265;p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66" name="Google Shape;6266;p8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67" name="Google Shape;6267;p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8" name="Google Shape;6268;p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69" name="Google Shape;6269;p8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 2">
    <p:spTree>
      <p:nvGrpSpPr>
        <p:cNvPr id="1" name="Shape 6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1" name="Google Shape;6271;p8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2" name="Google Shape;6272;p8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3" name="Google Shape;6273;p8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74" name="Google Shape;6274;p8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5" name="Google Shape;6275;p8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76" name="Google Shape;6276;p8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77" name="Google Shape;6277;p8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78" name="Google Shape;6278;p8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 2">
    <p:bg>
      <p:bgPr>
        <a:solidFill>
          <a:schemeClr val="lt2"/>
        </a:solidFill>
        <a:effectLst/>
      </p:bgPr>
    </p:bg>
    <p:spTree>
      <p:nvGrpSpPr>
        <p:cNvPr id="1" name="Shape 6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80" name="Google Shape;6280;p12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281" name="Google Shape;6281;p12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2" name="Google Shape;6282;p12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3" name="Google Shape;6283;p12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84" name="Google Shape;6284;p12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85" name="Google Shape;6285;p12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6" name="Google Shape;6286;p12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 2">
    <p:spTree>
      <p:nvGrpSpPr>
        <p:cNvPr id="1" name="Shape 6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8" name="Google Shape;6288;p12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289" name="Google Shape;6289;p12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290" name="Google Shape;6290;p12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291" name="Google Shape;6291;p12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2" name="Google Shape;6292;p12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93" name="Google Shape;6293;p12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294" name="Google Shape;6294;p1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3">
    <p:spTree>
      <p:nvGrpSpPr>
        <p:cNvPr id="1" name="Shape 6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6" name="Google Shape;6296;p8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97" name="Google Shape;6297;p8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8" name="Google Shape;6298;p8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99" name="Google Shape;6299;p8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00" name="Google Shape;6300;p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01" name="Google Shape;6301;p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02" name="Google Shape;6302;p8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03" name="Google Shape;6303;p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4" name="Google Shape;6304;p8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05" name="Google Shape;6305;p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6" name="Google Shape;6306;p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07" name="Google Shape;6307;p8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2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2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2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2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2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2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2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3">
    <p:spTree>
      <p:nvGrpSpPr>
        <p:cNvPr id="1" name="Shape 6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9" name="Google Shape;6309;p8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0" name="Google Shape;6310;p8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1" name="Google Shape;6311;p8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2" name="Google Shape;6312;p8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13" name="Google Shape;6313;p8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14" name="Google Shape;6314;p8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15" name="Google Shape;6315;p8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16" name="Google Shape;6316;p8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17" name="Google Shape;6317;p8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8" name="Google Shape;6318;p8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19" name="Google Shape;6319;p8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20" name="Google Shape;6320;p8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4">
    <p:spTree>
      <p:nvGrpSpPr>
        <p:cNvPr id="1" name="Shape 6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2" name="Google Shape;6322;p8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3" name="Google Shape;6323;p8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4" name="Google Shape;6324;p8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5" name="Google Shape;6325;p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26" name="Google Shape;6326;p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27" name="Google Shape;6327;p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28" name="Google Shape;6328;p8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29" name="Google Shape;6329;p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30" name="Google Shape;6330;p8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31" name="Google Shape;6331;p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2" name="Google Shape;6332;p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3" name="Google Shape;6333;p8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4">
    <p:spTree>
      <p:nvGrpSpPr>
        <p:cNvPr id="1" name="Shape 6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5" name="Google Shape;6335;p8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6" name="Google Shape;6336;p8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37" name="Google Shape;6337;p8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8" name="Google Shape;6338;p8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39" name="Google Shape;6339;p8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0" name="Google Shape;6340;p8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41" name="Google Shape;6341;p8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42" name="Google Shape;6342;p8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43" name="Google Shape;6343;p8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44" name="Google Shape;6344;p8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5" name="Google Shape;6345;p8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46" name="Google Shape;6346;p8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5">
    <p:spTree>
      <p:nvGrpSpPr>
        <p:cNvPr id="1" name="Shape 6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" name="Google Shape;6348;p8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9" name="Google Shape;6349;p8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0" name="Google Shape;6350;p8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1" name="Google Shape;6351;p8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52" name="Google Shape;6352;p8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3" name="Google Shape;6353;p8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54" name="Google Shape;6354;p8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55" name="Google Shape;6355;p8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6" name="Google Shape;6356;p8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57" name="Google Shape;6357;p8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58" name="Google Shape;6358;p8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59" name="Google Shape;6359;p8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5">
    <p:spTree>
      <p:nvGrpSpPr>
        <p:cNvPr id="1" name="Shape 6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1" name="Google Shape;6361;p8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62" name="Google Shape;6362;p8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3" name="Google Shape;6363;p8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64" name="Google Shape;6364;p8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65" name="Google Shape;6365;p8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66" name="Google Shape;6366;p8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67" name="Google Shape;6367;p8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8" name="Google Shape;6368;p8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9" name="Google Shape;6369;p8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0" name="Google Shape;6370;p8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1" name="Google Shape;6371;p8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72" name="Google Shape;6372;p8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 2">
    <p:spTree>
      <p:nvGrpSpPr>
        <p:cNvPr id="1" name="Shape 6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74" name="Google Shape;6374;p8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5" name="Google Shape;6375;p8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6" name="Google Shape;6376;p8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7" name="Google Shape;6377;p8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8" name="Google Shape;6378;p8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79" name="Google Shape;6379;p8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0" name="Google Shape;6380;p8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1" name="Google Shape;6381;p8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82" name="Google Shape;6382;p8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3" name="Google Shape;6383;p8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 2">
    <p:spTree>
      <p:nvGrpSpPr>
        <p:cNvPr id="1" name="Shape 6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5" name="Google Shape;6385;p8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6" name="Google Shape;6386;p8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87" name="Google Shape;6387;p8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88" name="Google Shape;6388;p8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9" name="Google Shape;6389;p8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0" name="Google Shape;6390;p8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1" name="Google Shape;6391;p8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2" name="Google Shape;6392;p8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3" name="Google Shape;6393;p8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94" name="Google Shape;6394;p8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95" name="Google Shape;6395;p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 2">
    <p:spTree>
      <p:nvGrpSpPr>
        <p:cNvPr id="1" name="Shape 6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97" name="Google Shape;6397;p8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98" name="Google Shape;6398;p8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99" name="Google Shape;6399;p8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00" name="Google Shape;6400;p8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1" name="Google Shape;6401;p8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2" name="Google Shape;6402;p8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3" name="Google Shape;6403;p8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4" name="Google Shape;6404;p8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5" name="Google Shape;6405;p8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6" name="Google Shape;6406;p8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7" name="Google Shape;6407;p8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8" name="Google Shape;6408;p8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09" name="Google Shape;6409;p8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 2">
    <p:spTree>
      <p:nvGrpSpPr>
        <p:cNvPr id="1" name="Shape 6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11" name="Google Shape;6411;p8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12" name="Google Shape;6412;p8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13" name="Google Shape;6413;p8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14" name="Google Shape;6414;p8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15" name="Google Shape;6415;p8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16" name="Google Shape;6416;p8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7" name="Google Shape;6417;p8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8" name="Google Shape;6418;p8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19" name="Google Shape;6419;p8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 2">
    <p:spTree>
      <p:nvGrpSpPr>
        <p:cNvPr id="1" name="Shape 6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21" name="Google Shape;6421;p8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22" name="Google Shape;6422;p8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23" name="Google Shape;6423;p8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24" name="Google Shape;6424;p8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5" name="Google Shape;6425;p8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6" name="Google Shape;6426;p8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27" name="Google Shape;6427;p8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428" name="Google Shape;6428;p8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2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2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2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2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 2">
    <p:spTree>
      <p:nvGrpSpPr>
        <p:cNvPr id="1" name="Shape 6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0" name="Google Shape;6430;p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1" name="Google Shape;6431;p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32" name="Google Shape;6432;p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33" name="Google Shape;6433;p8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34" name="Google Shape;6434;p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35" name="Google Shape;6435;p8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36" name="Google Shape;6436;p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37" name="Google Shape;6437;p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 2">
    <p:spTree>
      <p:nvGrpSpPr>
        <p:cNvPr id="1" name="Shape 6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9" name="Google Shape;6439;p8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40" name="Google Shape;6440;p8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1" name="Google Shape;6441;p8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42" name="Google Shape;6442;p8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43" name="Google Shape;6443;p8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44" name="Google Shape;6444;p8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5" name="Google Shape;6445;p8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46" name="Google Shape;6446;p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 2">
    <p:bg>
      <p:bgPr>
        <a:solidFill>
          <a:schemeClr val="lt2"/>
        </a:solidFill>
        <a:effectLst/>
      </p:bgPr>
    </p:bg>
    <p:spTree>
      <p:nvGrpSpPr>
        <p:cNvPr id="1" name="Shape 6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48" name="Google Shape;6448;p8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49" name="Google Shape;6449;p8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0" name="Google Shape;6450;p8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1" name="Google Shape;6451;p8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52" name="Google Shape;6452;p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53" name="Google Shape;6453;p8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4" name="Google Shape;6454;p8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3">
    <p:spTree>
      <p:nvGrpSpPr>
        <p:cNvPr id="1" name="Shape 6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6" name="Google Shape;6456;p8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7" name="Google Shape;6457;p8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8" name="Google Shape;6458;p8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9" name="Google Shape;6459;p8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60" name="Google Shape;6460;p8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61" name="Google Shape;6461;p8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62" name="Google Shape;6462;p8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63" name="Google Shape;6463;p8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4" name="Google Shape;6464;p8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65" name="Google Shape;6465;p8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66" name="Google Shape;6466;p8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67" name="Google Shape;6467;p8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4">
    <p:spTree>
      <p:nvGrpSpPr>
        <p:cNvPr id="1" name="Shape 6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9" name="Google Shape;6469;p8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0" name="Google Shape;6470;p8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1" name="Google Shape;6471;p8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2" name="Google Shape;6472;p8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3" name="Google Shape;6473;p8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74" name="Google Shape;6474;p8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75" name="Google Shape;6475;p8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76" name="Google Shape;6476;p8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77" name="Google Shape;6477;p8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78" name="Google Shape;6478;p8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9" name="Google Shape;6479;p8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80" name="Google Shape;6480;p8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5">
    <p:spTree>
      <p:nvGrpSpPr>
        <p:cNvPr id="1" name="Shape 6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2" name="Google Shape;6482;p8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3" name="Google Shape;6483;p8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4" name="Google Shape;6484;p8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5" name="Google Shape;6485;p8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86" name="Google Shape;6486;p8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7" name="Google Shape;6487;p8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88" name="Google Shape;6488;p8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89" name="Google Shape;6489;p8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0" name="Google Shape;6490;p8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1" name="Google Shape;6491;p8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2" name="Google Shape;6492;p8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93" name="Google Shape;6493;p8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 2">
    <p:spTree>
      <p:nvGrpSpPr>
        <p:cNvPr id="1" name="Shape 6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5" name="Google Shape;6495;p8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6" name="Google Shape;6496;p8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7" name="Google Shape;6497;p8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8" name="Google Shape;6498;p8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9" name="Google Shape;6499;p8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00" name="Google Shape;6500;p8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1" name="Google Shape;6501;p8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02" name="Google Shape;6502;p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03" name="Google Shape;6503;p8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04" name="Google Shape;6504;p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 2">
    <p:spTree>
      <p:nvGrpSpPr>
        <p:cNvPr id="1" name="Shape 6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6" name="Google Shape;6506;p8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7" name="Google Shape;6507;p8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508" name="Google Shape;6508;p8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09" name="Google Shape;6509;p8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10" name="Google Shape;6510;p8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1" name="Google Shape;6511;p8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12" name="Google Shape;6512;p8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13" name="Google Shape;6513;p8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4" name="Google Shape;6514;p8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15" name="Google Shape;6515;p8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16" name="Google Shape;6516;p8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 2">
    <p:spTree>
      <p:nvGrpSpPr>
        <p:cNvPr id="1" name="Shape 6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18" name="Google Shape;6518;p8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19" name="Google Shape;6519;p8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20" name="Google Shape;6520;p8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21" name="Google Shape;6521;p8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2" name="Google Shape;6522;p8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23" name="Google Shape;6523;p8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4" name="Google Shape;6524;p8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5" name="Google Shape;6525;p8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6" name="Google Shape;6526;p8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7" name="Google Shape;6527;p8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8" name="Google Shape;6528;p8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9" name="Google Shape;6529;p8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0" name="Google Shape;6530;p8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 2">
    <p:spTree>
      <p:nvGrpSpPr>
        <p:cNvPr id="1" name="Shape 6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2" name="Google Shape;6532;p8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533" name="Google Shape;6533;p8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534" name="Google Shape;6534;p8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535" name="Google Shape;6535;p8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6" name="Google Shape;6536;p8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37" name="Google Shape;6537;p8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538" name="Google Shape;6538;p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2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2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2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2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 2">
    <p:spTree>
      <p:nvGrpSpPr>
        <p:cNvPr id="1" name="Shape 6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0" name="Google Shape;6540;p8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41" name="Google Shape;6541;p8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2" name="Google Shape;6542;p8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43" name="Google Shape;6543;p8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44" name="Google Shape;6544;p8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5" name="Google Shape;6545;p8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46" name="Google Shape;6546;p8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47" name="Google Shape;6547;p8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 2">
    <p:spTree>
      <p:nvGrpSpPr>
        <p:cNvPr id="1" name="Shape 6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9" name="Google Shape;6549;p8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0" name="Google Shape;6550;p8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1" name="Google Shape;6551;p8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52" name="Google Shape;6552;p8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3" name="Google Shape;6553;p8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54" name="Google Shape;6554;p8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5" name="Google Shape;6555;p8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56" name="Google Shape;6556;p8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 2">
    <p:spTree>
      <p:nvGrpSpPr>
        <p:cNvPr id="1" name="Shape 6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58" name="Google Shape;6558;p8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9" name="Google Shape;6559;p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0" name="Google Shape;6560;p8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61" name="Google Shape;6561;p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2" name="Google Shape;6562;p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63" name="Google Shape;6563;p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4" name="Google Shape;6564;p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65" name="Google Shape;6565;p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6" name="Google Shape;6566;p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6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8" name="Google Shape;6568;p84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9" name="Google Shape;6569;p84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570" name="Google Shape;6570;p84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6571" name="Google Shape;6571;p84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72" name="Google Shape;6572;p84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73" name="Google Shape;6573;p8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6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5" name="Google Shape;6575;p8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76" name="Google Shape;6576;p8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77" name="Google Shape;6577;p8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8" name="Google Shape;6578;p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79" name="Google Shape;6579;p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80" name="Google Shape;6580;p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81" name="Google Shape;6581;p8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82" name="Google Shape;6582;p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3" name="Google Shape;6583;p8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84" name="Google Shape;6584;p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5" name="Google Shape;6585;p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86" name="Google Shape;6586;p8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2">
    <p:spTree>
      <p:nvGrpSpPr>
        <p:cNvPr id="1" name="Shape 6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8" name="Google Shape;6588;p8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89" name="Google Shape;6589;p8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0" name="Google Shape;6590;p8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1" name="Google Shape;6591;p8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2" name="Google Shape;6592;p8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93" name="Google Shape;6593;p8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94" name="Google Shape;6594;p8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5" name="Google Shape;6595;p8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6" name="Google Shape;6596;p8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97" name="Google Shape;6597;p8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98" name="Google Shape;6598;p8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9" name="Google Shape;6599;p8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6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1" name="Google Shape;6601;p8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02" name="Google Shape;6602;p8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03" name="Google Shape;6603;p8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4" name="Google Shape;6604;p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05" name="Google Shape;6605;p8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6" name="Google Shape;6606;p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07" name="Google Shape;6607;p8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08" name="Google Shape;6608;p8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9" name="Google Shape;6609;p8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0" name="Google Shape;6610;p8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1" name="Google Shape;6611;p8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12" name="Google Shape;6612;p8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2">
    <p:spTree>
      <p:nvGrpSpPr>
        <p:cNvPr id="1" name="Shape 6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4" name="Google Shape;6614;p8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15" name="Google Shape;6615;p8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16" name="Google Shape;6616;p8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17" name="Google Shape;6617;p8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18" name="Google Shape;6618;p8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19" name="Google Shape;6619;p8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20" name="Google Shape;6620;p8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21" name="Google Shape;6621;p8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22" name="Google Shape;6622;p8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23" name="Google Shape;6623;p8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4" name="Google Shape;6624;p8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25" name="Google Shape;6625;p8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3">
    <p:spTree>
      <p:nvGrpSpPr>
        <p:cNvPr id="1" name="Shape 6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7" name="Google Shape;6627;p8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8" name="Google Shape;6628;p8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29" name="Google Shape;6629;p8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0" name="Google Shape;6630;p8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31" name="Google Shape;6631;p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32" name="Google Shape;6632;p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33" name="Google Shape;6633;p8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34" name="Google Shape;6634;p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35" name="Google Shape;6635;p8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36" name="Google Shape;6636;p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37" name="Google Shape;6637;p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38" name="Google Shape;6638;p8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2">
    <p:spTree>
      <p:nvGrpSpPr>
        <p:cNvPr id="1" name="Shape 6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0" name="Google Shape;6640;p8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1" name="Google Shape;6641;p8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2" name="Google Shape;6642;p8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3" name="Google Shape;6643;p8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4" name="Google Shape;6644;p8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45" name="Google Shape;6645;p8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46" name="Google Shape;6646;p8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47" name="Google Shape;6647;p8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48" name="Google Shape;6648;p8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49" name="Google Shape;6649;p8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50" name="Google Shape;6650;p8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51" name="Google Shape;6651;p8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6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3" name="Google Shape;6653;p84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4" name="Google Shape;6654;p848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5" name="Google Shape;6655;p8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656" name="Google Shape;6656;p848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7" name="Google Shape;6657;p8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658" name="Google Shape;6658;p84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9" name="Google Shape;6659;p84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0" name="Google Shape;6660;p84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1" name="Google Shape;6661;p8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662" name="Google Shape;6662;p8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63" name="Google Shape;6663;p8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2">
    <p:spTree>
      <p:nvGrpSpPr>
        <p:cNvPr id="1" name="Shape 6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5" name="Google Shape;6665;p84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6" name="Google Shape;6666;p8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7" name="Google Shape;6667;p8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8" name="Google Shape;6668;p8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69" name="Google Shape;6669;p8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70" name="Google Shape;6670;p8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71" name="Google Shape;6671;p8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72" name="Google Shape;6672;p8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73" name="Google Shape;6673;p8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74" name="Google Shape;6674;p8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75" name="Google Shape;6675;p8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76" name="Google Shape;6676;p8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3">
    <p:spTree>
      <p:nvGrpSpPr>
        <p:cNvPr id="1" name="Shape 6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8" name="Google Shape;6678;p8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9" name="Google Shape;6679;p8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0" name="Google Shape;6680;p8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1" name="Google Shape;6681;p8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82" name="Google Shape;6682;p8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83" name="Google Shape;6683;p8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84" name="Google Shape;6684;p8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5" name="Google Shape;6685;p8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86" name="Google Shape;6686;p8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87" name="Google Shape;6687;p8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88" name="Google Shape;6688;p8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89" name="Google Shape;6689;p8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6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1" name="Google Shape;6691;p8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92" name="Google Shape;6692;p8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3" name="Google Shape;6693;p8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694" name="Google Shape;6694;p8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695" name="Google Shape;6695;p8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696" name="Google Shape;6696;p8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7" name="Google Shape;6697;p8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698" name="Google Shape;6698;p8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6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00" name="Google Shape;6700;p8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701" name="Google Shape;6701;p8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2" name="Google Shape;6702;p8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3" name="Google Shape;6703;p8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04" name="Google Shape;6704;p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705" name="Google Shape;6705;p8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6" name="Google Shape;6706;p8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6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8" name="Google Shape;6708;p8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09" name="Google Shape;6709;p8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10" name="Google Shape;6710;p8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11" name="Google Shape;6711;p8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2" name="Google Shape;6712;p8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13" name="Google Shape;6713;p8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14" name="Google Shape;6714;p8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6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6" name="Google Shape;6716;p8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17" name="Google Shape;6717;p8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8" name="Google Shape;6718;p8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19" name="Google Shape;6719;p8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0" name="Google Shape;6720;p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21" name="Google Shape;6721;p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22" name="Google Shape;6722;p8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23" name="Google Shape;6723;p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24" name="Google Shape;6724;p8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25" name="Google Shape;6725;p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26" name="Google Shape;6726;p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7" name="Google Shape;6727;p8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2">
    <p:spTree>
      <p:nvGrpSpPr>
        <p:cNvPr id="1" name="Shape 6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9" name="Google Shape;6729;p8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30" name="Google Shape;6730;p8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1" name="Google Shape;6731;p8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2" name="Google Shape;6732;p8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33" name="Google Shape;6733;p8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4" name="Google Shape;6734;p8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35" name="Google Shape;6735;p8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36" name="Google Shape;6736;p8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37" name="Google Shape;6737;p8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38" name="Google Shape;6738;p8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39" name="Google Shape;6739;p8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40" name="Google Shape;6740;p8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6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2" name="Google Shape;6742;p8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43" name="Google Shape;6743;p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4" name="Google Shape;6744;p8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45" name="Google Shape;6745;p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6" name="Google Shape;6746;p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47" name="Google Shape;6747;p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48" name="Google Shape;6748;p8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49" name="Google Shape;6749;p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50" name="Google Shape;6750;p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51" name="Google Shape;6751;p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6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3" name="Google Shape;6753;p8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4" name="Google Shape;6754;p8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755" name="Google Shape;6755;p8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6" name="Google Shape;6756;p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57" name="Google Shape;6757;p8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58" name="Google Shape;6758;p8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59" name="Google Shape;6759;p8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60" name="Google Shape;6760;p8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61" name="Google Shape;6761;p8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2" name="Google Shape;6762;p8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3" name="Google Shape;6763;p8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6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65" name="Google Shape;6765;p8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66" name="Google Shape;6766;p8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7" name="Google Shape;6767;p8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68" name="Google Shape;6768;p8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9" name="Google Shape;6769;p8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0" name="Google Shape;6770;p8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1" name="Google Shape;6771;p8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2" name="Google Shape;6772;p8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3" name="Google Shape;6773;p8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4" name="Google Shape;6774;p8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5" name="Google Shape;6775;p8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6" name="Google Shape;6776;p8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77" name="Google Shape;6777;p8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6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79" name="Google Shape;6779;p8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80" name="Google Shape;6780;p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81" name="Google Shape;6781;p8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82" name="Google Shape;6782;p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3" name="Google Shape;6783;p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84" name="Google Shape;6784;p8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5" name="Google Shape;6785;p8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86" name="Google Shape;6786;p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7" name="Google Shape;6787;p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6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89" name="Google Shape;6789;p8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790" name="Google Shape;6790;p8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1" name="Google Shape;6791;p8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92" name="Google Shape;6792;p8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3" name="Google Shape;6793;p8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4" name="Google Shape;6794;p8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95" name="Google Shape;6795;p8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96" name="Google Shape;6796;p8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6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8" name="Google Shape;6798;p8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99" name="Google Shape;6799;p8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0" name="Google Shape;6800;p8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01" name="Google Shape;6801;p8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02" name="Google Shape;6802;p8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03" name="Google Shape;6803;p8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04" name="Google Shape;6804;p8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05" name="Google Shape;6805;p8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3">
    <p:spTree>
      <p:nvGrpSpPr>
        <p:cNvPr id="1" name="Shape 6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7" name="Google Shape;6807;p8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08" name="Google Shape;6808;p8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9" name="Google Shape;6809;p8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0" name="Google Shape;6810;p8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11" name="Google Shape;6811;p8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12" name="Google Shape;6812;p8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13" name="Google Shape;6813;p8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14" name="Google Shape;6814;p8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5" name="Google Shape;6815;p8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16" name="Google Shape;6816;p8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17" name="Google Shape;6817;p8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18" name="Google Shape;6818;p8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4">
    <p:spTree>
      <p:nvGrpSpPr>
        <p:cNvPr id="1" name="Shape 6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0" name="Google Shape;6820;p8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21" name="Google Shape;6821;p8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2" name="Google Shape;6822;p8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23" name="Google Shape;6823;p8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4" name="Google Shape;6824;p8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25" name="Google Shape;6825;p8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26" name="Google Shape;6826;p8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27" name="Google Shape;6827;p8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28" name="Google Shape;6828;p8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29" name="Google Shape;6829;p8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0" name="Google Shape;6830;p8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31" name="Google Shape;6831;p8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3">
    <p:spTree>
      <p:nvGrpSpPr>
        <p:cNvPr id="1" name="Shape 6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3" name="Google Shape;6833;p8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4" name="Google Shape;6834;p8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35" name="Google Shape;6835;p8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6" name="Google Shape;6836;p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37" name="Google Shape;6837;p8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8" name="Google Shape;6838;p8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39" name="Google Shape;6839;p8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40" name="Google Shape;6840;p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41" name="Google Shape;6841;p8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42" name="Google Shape;6842;p8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43" name="Google Shape;6843;p8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44" name="Google Shape;6844;p8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4">
    <p:spTree>
      <p:nvGrpSpPr>
        <p:cNvPr id="1" name="Shape 6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6" name="Google Shape;6846;p8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7" name="Google Shape;6847;p8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48" name="Google Shape;6848;p8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49" name="Google Shape;6849;p8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50" name="Google Shape;6850;p8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1" name="Google Shape;6851;p8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52" name="Google Shape;6852;p8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53" name="Google Shape;6853;p8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54" name="Google Shape;6854;p8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55" name="Google Shape;6855;p8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56" name="Google Shape;6856;p8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57" name="Google Shape;6857;p8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5">
    <p:spTree>
      <p:nvGrpSpPr>
        <p:cNvPr id="1" name="Shape 6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9" name="Google Shape;6859;p8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60" name="Google Shape;6860;p8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1" name="Google Shape;6861;p8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2" name="Google Shape;6862;p8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3" name="Google Shape;6863;p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4" name="Google Shape;6864;p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65" name="Google Shape;6865;p8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66" name="Google Shape;6866;p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67" name="Google Shape;6867;p8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68" name="Google Shape;6868;p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69" name="Google Shape;6869;p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70" name="Google Shape;6870;p8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4">
    <p:spTree>
      <p:nvGrpSpPr>
        <p:cNvPr id="1" name="Shape 6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2" name="Google Shape;6872;p8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73" name="Google Shape;6873;p8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4" name="Google Shape;6874;p8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5" name="Google Shape;6875;p8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76" name="Google Shape;6876;p8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77" name="Google Shape;6877;p8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78" name="Google Shape;6878;p8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9" name="Google Shape;6879;p8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0" name="Google Shape;6880;p8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81" name="Google Shape;6881;p8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82" name="Google Shape;6882;p8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83" name="Google Shape;6883;p8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5">
    <p:spTree>
      <p:nvGrpSpPr>
        <p:cNvPr id="1" name="Shape 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5" name="Google Shape;6885;p8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86" name="Google Shape;6886;p8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87" name="Google Shape;6887;p8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8" name="Google Shape;6888;p8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89" name="Google Shape;6889;p8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90" name="Google Shape;6890;p8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91" name="Google Shape;6891;p8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92" name="Google Shape;6892;p8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3" name="Google Shape;6893;p8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4" name="Google Shape;6894;p8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95" name="Google Shape;6895;p8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96" name="Google Shape;6896;p8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6">
    <p:spTree>
      <p:nvGrpSpPr>
        <p:cNvPr id="1" name="Shape 6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8" name="Google Shape;6898;p8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99" name="Google Shape;6899;p8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00" name="Google Shape;6900;p8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1" name="Google Shape;6901;p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2" name="Google Shape;6902;p8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03" name="Google Shape;6903;p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04" name="Google Shape;6904;p8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05" name="Google Shape;6905;p8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6" name="Google Shape;6906;p8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7" name="Google Shape;6907;p8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8" name="Google Shape;6908;p8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09" name="Google Shape;6909;p8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5">
    <p:spTree>
      <p:nvGrpSpPr>
        <p:cNvPr id="1" name="Shape 6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1" name="Google Shape;6911;p8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2" name="Google Shape;6912;p8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13" name="Google Shape;6913;p8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14" name="Google Shape;6914;p8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15" name="Google Shape;6915;p8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6" name="Google Shape;6916;p8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17" name="Google Shape;6917;p8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18" name="Google Shape;6918;p8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19" name="Google Shape;6919;p8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20" name="Google Shape;6920;p8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21" name="Google Shape;6921;p8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22" name="Google Shape;6922;p8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6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4" name="Google Shape;6924;p87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25" name="Google Shape;6925;p871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6" name="Google Shape;6926;p8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927" name="Google Shape;6927;p87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8" name="Google Shape;6928;p87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929" name="Google Shape;6929;p87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0" name="Google Shape;6930;p87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1" name="Google Shape;6931;p87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2" name="Google Shape;6932;p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933" name="Google Shape;6933;p87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34" name="Google Shape;6934;p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4">
    <p:spTree>
      <p:nvGrpSpPr>
        <p:cNvPr id="1" name="Shape 6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6" name="Google Shape;6936;p8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7" name="Google Shape;6937;p8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8" name="Google Shape;6938;p8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9" name="Google Shape;6939;p8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0" name="Google Shape;6940;p8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41" name="Google Shape;6941;p8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42" name="Google Shape;6942;p8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43" name="Google Shape;6943;p8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4" name="Google Shape;6944;p8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45" name="Google Shape;6945;p8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46" name="Google Shape;6946;p8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47" name="Google Shape;6947;p8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5">
    <p:spTree>
      <p:nvGrpSpPr>
        <p:cNvPr id="1" name="Shape 6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9" name="Google Shape;6949;p8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50" name="Google Shape;6950;p8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1" name="Google Shape;6951;p8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2" name="Google Shape;6952;p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53" name="Google Shape;6953;p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4" name="Google Shape;6954;p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55" name="Google Shape;6955;p8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56" name="Google Shape;6956;p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57" name="Google Shape;6957;p8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8" name="Google Shape;6958;p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59" name="Google Shape;6959;p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60" name="Google Shape;6960;p8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6">
    <p:spTree>
      <p:nvGrpSpPr>
        <p:cNvPr id="1" name="Shape 6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2" name="Google Shape;6962;p8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63" name="Google Shape;6963;p8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64" name="Google Shape;6964;p8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5" name="Google Shape;6965;p8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66" name="Google Shape;6966;p8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7" name="Google Shape;6967;p8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68" name="Google Shape;6968;p8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69" name="Google Shape;6969;p8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70" name="Google Shape;6970;p8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71" name="Google Shape;6971;p8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72" name="Google Shape;6972;p8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73" name="Google Shape;6973;p8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 2">
    <p:spTree>
      <p:nvGrpSpPr>
        <p:cNvPr id="1" name="Shape 6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5" name="Google Shape;6975;p87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6" name="Google Shape;6976;p87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7" name="Google Shape;6977;p87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78" name="Google Shape;6978;p8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9" name="Google Shape;6979;p87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0" name="Google Shape;6980;p8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1" name="Google Shape;6981;p8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2" name="Google Shape;6982;p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 2">
    <p:bg>
      <p:bgPr>
        <a:solidFill>
          <a:schemeClr val="lt2"/>
        </a:solidFill>
        <a:effectLst/>
      </p:bgPr>
    </p:bg>
    <p:spTree>
      <p:nvGrpSpPr>
        <p:cNvPr id="1" name="Shape 6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4" name="Google Shape;6984;p87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985" name="Google Shape;6985;p87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6" name="Google Shape;6986;p8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7" name="Google Shape;6987;p87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8" name="Google Shape;6988;p8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89" name="Google Shape;6989;p87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0" name="Google Shape;6990;p87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 2">
    <p:spTree>
      <p:nvGrpSpPr>
        <p:cNvPr id="1" name="Shape 6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2" name="Google Shape;6992;p12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993" name="Google Shape;6993;p12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94" name="Google Shape;6994;p12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995" name="Google Shape;6995;p12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6" name="Google Shape;6996;p12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97" name="Google Shape;6997;p12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998" name="Google Shape;6998;p1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3">
    <p:spTree>
      <p:nvGrpSpPr>
        <p:cNvPr id="1" name="Shape 6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0" name="Google Shape;7000;p12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01" name="Google Shape;7001;p12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2" name="Google Shape;7002;p12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3" name="Google Shape;7003;p12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04" name="Google Shape;7004;p12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05" name="Google Shape;7005;p1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06" name="Google Shape;7006;p12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07" name="Google Shape;7007;p12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8" name="Google Shape;7008;p12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9" name="Google Shape;7009;p12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0" name="Google Shape;7010;p12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11" name="Google Shape;7011;p12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4">
    <p:spTree>
      <p:nvGrpSpPr>
        <p:cNvPr id="1" name="Shape 7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3" name="Google Shape;7013;p12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4" name="Google Shape;7014;p12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5" name="Google Shape;7015;p12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6" name="Google Shape;7016;p12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7" name="Google Shape;7017;p12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18" name="Google Shape;7018;p12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19" name="Google Shape;7019;p12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20" name="Google Shape;7020;p12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21" name="Google Shape;7021;p12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22" name="Google Shape;7022;p12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3" name="Google Shape;7023;p12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24" name="Google Shape;7024;p12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5">
    <p:spTree>
      <p:nvGrpSpPr>
        <p:cNvPr id="1" name="Shape 7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6" name="Google Shape;7026;p12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7" name="Google Shape;7027;p12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8" name="Google Shape;7028;p12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9" name="Google Shape;7029;p12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30" name="Google Shape;7030;p12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31" name="Google Shape;7031;p12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32" name="Google Shape;7032;p12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33" name="Google Shape;7033;p12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34" name="Google Shape;7034;p12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35" name="Google Shape;7035;p12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36" name="Google Shape;7036;p12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37" name="Google Shape;7037;p12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 2">
    <p:spTree>
      <p:nvGrpSpPr>
        <p:cNvPr id="1" name="Shape 7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39" name="Google Shape;7039;p8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40" name="Google Shape;7040;p8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41" name="Google Shape;7041;p8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42" name="Google Shape;7042;p8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43" name="Google Shape;7043;p8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44" name="Google Shape;7044;p8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5" name="Google Shape;7045;p8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46" name="Google Shape;7046;p8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7" name="Google Shape;7047;p8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48" name="Google Shape;7048;p8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 2">
    <p:spTree>
      <p:nvGrpSpPr>
        <p:cNvPr id="1" name="Shape 7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0" name="Google Shape;7050;p8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51" name="Google Shape;7051;p8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52" name="Google Shape;7052;p8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53" name="Google Shape;7053;p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54" name="Google Shape;7054;p8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55" name="Google Shape;7055;p8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56" name="Google Shape;7056;p8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57" name="Google Shape;7057;p8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8" name="Google Shape;7058;p8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9" name="Google Shape;7059;p8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0" name="Google Shape;7060;p8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 2">
    <p:spTree>
      <p:nvGrpSpPr>
        <p:cNvPr id="1" name="Shape 7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2" name="Google Shape;7062;p12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63" name="Google Shape;7063;p12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64" name="Google Shape;7064;p12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65" name="Google Shape;7065;p12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66" name="Google Shape;7066;p12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67" name="Google Shape;7067;p12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8" name="Google Shape;7068;p12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9" name="Google Shape;7069;p12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0" name="Google Shape;7070;p12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71" name="Google Shape;7071;p12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2" name="Google Shape;7072;p1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73" name="Google Shape;7073;p12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74" name="Google Shape;7074;p1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 2">
    <p:spTree>
      <p:nvGrpSpPr>
        <p:cNvPr id="1" name="Shape 7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76" name="Google Shape;7076;p12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77" name="Google Shape;7077;p12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78" name="Google Shape;7078;p12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79" name="Google Shape;7079;p12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80" name="Google Shape;7080;p12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81" name="Google Shape;7081;p12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2" name="Google Shape;7082;p1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3" name="Google Shape;7083;p12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84" name="Google Shape;7084;p1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 2">
    <p:spTree>
      <p:nvGrpSpPr>
        <p:cNvPr id="1" name="Shape 7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6" name="Google Shape;7086;p12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87" name="Google Shape;7087;p12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8" name="Google Shape;7088;p12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89" name="Google Shape;7089;p12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90" name="Google Shape;7090;p12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1" name="Google Shape;7091;p12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092" name="Google Shape;7092;p1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093" name="Google Shape;7093;p12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 2">
    <p:spTree>
      <p:nvGrpSpPr>
        <p:cNvPr id="1" name="Shape 7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5" name="Google Shape;7095;p8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96" name="Google Shape;7096;p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7" name="Google Shape;7097;p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98" name="Google Shape;7098;p8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99" name="Google Shape;7099;p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00" name="Google Shape;7100;p8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01" name="Google Shape;7101;p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2" name="Google Shape;7102;p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7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4" name="Google Shape;7104;p12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05" name="Google Shape;7105;p12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06" name="Google Shape;7106;p12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07" name="Google Shape;7107;p12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08" name="Google Shape;7108;p12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09" name="Google Shape;7109;p12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0" name="Google Shape;7110;p12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1" name="Google Shape;7111;p12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7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3" name="Google Shape;7113;p12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114" name="Google Shape;7114;p12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5" name="Google Shape;7115;p1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6" name="Google Shape;7116;p12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7" name="Google Shape;7117;p1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118" name="Google Shape;7118;p12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9" name="Google Shape;7119;p12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7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1" name="Google Shape;7121;p12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22" name="Google Shape;7122;p12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3" name="Google Shape;7123;p12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24" name="Google Shape;7124;p12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5" name="Google Shape;7125;p12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26" name="Google Shape;7126;p12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27" name="Google Shape;7127;p12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7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9" name="Google Shape;7129;p12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0" name="Google Shape;7130;p12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31" name="Google Shape;7131;p12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2" name="Google Shape;7132;p12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33" name="Google Shape;7133;p12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34" name="Google Shape;7134;p12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35" name="Google Shape;7135;p12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36" name="Google Shape;7136;p1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7" name="Google Shape;7137;p12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38" name="Google Shape;7138;p12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9" name="Google Shape;7139;p12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40" name="Google Shape;7140;p12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2">
    <p:spTree>
      <p:nvGrpSpPr>
        <p:cNvPr id="1" name="Shape 7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2" name="Google Shape;7142;p1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3" name="Google Shape;7143;p1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44" name="Google Shape;7144;p1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45" name="Google Shape;7145;p1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46" name="Google Shape;7146;p1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47" name="Google Shape;7147;p1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48" name="Google Shape;7148;p1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49" name="Google Shape;7149;p1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0" name="Google Shape;7150;p1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1" name="Google Shape;7151;p1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2" name="Google Shape;7152;p1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53" name="Google Shape;7153;p1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7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55" name="Google Shape;7155;p1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56" name="Google Shape;7156;p1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7" name="Google Shape;7157;p1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8" name="Google Shape;7158;p1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9" name="Google Shape;7159;p1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0" name="Google Shape;7160;p1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1" name="Google Shape;7161;p1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62" name="Google Shape;7162;p12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63" name="Google Shape;7163;p1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64" name="Google Shape;7164;p1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7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6" name="Google Shape;7166;p8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7" name="Google Shape;7167;p8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68" name="Google Shape;7168;p8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69" name="Google Shape;7169;p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70" name="Google Shape;7170;p8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71" name="Google Shape;7171;p8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2" name="Google Shape;7172;p8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73" name="Google Shape;7173;p89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4" name="Google Shape;7174;p89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75" name="Google Shape;7175;p8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76" name="Google Shape;7176;p8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7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8" name="Google Shape;7178;p8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79" name="Google Shape;7179;p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80" name="Google Shape;7180;p8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81" name="Google Shape;7181;p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2" name="Google Shape;7182;p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83" name="Google Shape;7183;p8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84" name="Google Shape;7184;p89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5" name="Google Shape;7185;p89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6" name="Google Shape;7186;p89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7" name="Google Shape;7187;p89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8" name="Google Shape;7188;p8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9" name="Google Shape;7189;p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0" name="Google Shape;7190;p8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7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2" name="Google Shape;7192;p8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93" name="Google Shape;7193;p8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94" name="Google Shape;7194;p8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95" name="Google Shape;7195;p8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6" name="Google Shape;7196;p8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97" name="Google Shape;7197;p8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98" name="Google Shape;7198;p8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99" name="Google Shape;7199;p8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00" name="Google Shape;7200;p8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7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02" name="Google Shape;7202;p8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03" name="Google Shape;7203;p8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4" name="Google Shape;7204;p8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05" name="Google Shape;7205;p89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06" name="Google Shape;7206;p89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07" name="Google Shape;7207;p8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08" name="Google Shape;7208;p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09" name="Google Shape;7209;p8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7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Google Shape;7211;p8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12" name="Google Shape;7212;p8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13" name="Google Shape;7213;p8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14" name="Google Shape;7214;p8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5" name="Google Shape;7215;p8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6" name="Google Shape;7216;p8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17" name="Google Shape;7217;p8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8" name="Google Shape;7218;p8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" name="Google Shape;72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" name="Google Shape;75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6" name="Google Shape;76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2">
    <p:spTree>
      <p:nvGrpSpPr>
        <p:cNvPr id="1" name="Shape 7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0" name="Google Shape;7220;p12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21" name="Google Shape;7221;p12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2" name="Google Shape;7222;p12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3" name="Google Shape;7223;p1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4" name="Google Shape;7224;p1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25" name="Google Shape;7225;p1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26" name="Google Shape;7226;p1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27" name="Google Shape;7227;p1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8" name="Google Shape;7228;p1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29" name="Google Shape;7229;p1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0" name="Google Shape;7230;p1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31" name="Google Shape;7231;p12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3">
    <p:spTree>
      <p:nvGrpSpPr>
        <p:cNvPr id="1" name="Shape 7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3" name="Google Shape;7233;p12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34" name="Google Shape;7234;p12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35" name="Google Shape;7235;p12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6" name="Google Shape;7236;p1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37" name="Google Shape;7237;p1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8" name="Google Shape;7238;p1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39" name="Google Shape;7239;p1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40" name="Google Shape;7240;p1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41" name="Google Shape;7241;p1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42" name="Google Shape;7242;p1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3" name="Google Shape;7243;p1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44" name="Google Shape;7244;p12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2">
    <p:spTree>
      <p:nvGrpSpPr>
        <p:cNvPr id="1" name="Shape 7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6" name="Google Shape;7246;p12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47" name="Google Shape;7247;p12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8" name="Google Shape;7248;p12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49" name="Google Shape;7249;p1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250" name="Google Shape;7250;p12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251" name="Google Shape;7251;p12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2" name="Google Shape;7252;p12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3" name="Google Shape;7253;p1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2">
    <p:bg>
      <p:bgPr>
        <a:solidFill>
          <a:schemeClr val="lt2"/>
        </a:solidFill>
        <a:effectLst/>
      </p:bgPr>
    </p:bg>
    <p:spTree>
      <p:nvGrpSpPr>
        <p:cNvPr id="1" name="Shape 7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55" name="Google Shape;7255;p12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56" name="Google Shape;7256;p12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7" name="Google Shape;7257;p12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8" name="Google Shape;7258;p12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9" name="Google Shape;7259;p1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60" name="Google Shape;7260;p12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1" name="Google Shape;7261;p12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2">
    <p:spTree>
      <p:nvGrpSpPr>
        <p:cNvPr id="1" name="Shape 7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3" name="Google Shape;7263;p12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64" name="Google Shape;7264;p12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65" name="Google Shape;7265;p12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266" name="Google Shape;7266;p12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7" name="Google Shape;7267;p12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68" name="Google Shape;7268;p12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269" name="Google Shape;7269;p12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3">
    <p:spTree>
      <p:nvGrpSpPr>
        <p:cNvPr id="1" name="Shape 7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" name="Google Shape;7271;p12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2" name="Google Shape;7272;p12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3" name="Google Shape;7273;p12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74" name="Google Shape;7274;p12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75" name="Google Shape;7275;p1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6" name="Google Shape;7276;p1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77" name="Google Shape;7277;p12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78" name="Google Shape;7278;p1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79" name="Google Shape;7279;p12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0" name="Google Shape;7280;p1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1" name="Google Shape;7281;p1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82" name="Google Shape;7282;p12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2">
    <p:spTree>
      <p:nvGrpSpPr>
        <p:cNvPr id="1" name="Shape 7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84" name="Google Shape;7284;p12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85" name="Google Shape;7285;p12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86" name="Google Shape;7286;p12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7" name="Google Shape;7287;p12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8" name="Google Shape;7288;p12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89" name="Google Shape;7289;p12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0" name="Google Shape;7290;p127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91" name="Google Shape;7291;p12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92" name="Google Shape;7292;p12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93" name="Google Shape;7293;p12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2">
    <p:spTree>
      <p:nvGrpSpPr>
        <p:cNvPr id="1" name="Shape 7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5" name="Google Shape;7295;p12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6" name="Google Shape;7296;p12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97" name="Google Shape;7297;p1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98" name="Google Shape;7298;p1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99" name="Google Shape;7299;p1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00" name="Google Shape;7300;p1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01" name="Google Shape;7301;p1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02" name="Google Shape;7302;p12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03" name="Google Shape;7303;p12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04" name="Google Shape;7304;p1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05" name="Google Shape;7305;p1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2">
    <p:spTree>
      <p:nvGrpSpPr>
        <p:cNvPr id="1" name="Shape 7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07" name="Google Shape;7307;p1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08" name="Google Shape;7308;p1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09" name="Google Shape;7309;p1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10" name="Google Shape;7310;p1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11" name="Google Shape;7311;p1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12" name="Google Shape;7312;p1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3" name="Google Shape;7313;p12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4" name="Google Shape;7314;p12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5" name="Google Shape;7315;p12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6" name="Google Shape;7316;p12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7" name="Google Shape;7317;p1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8" name="Google Shape;7318;p1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9" name="Google Shape;7319;p1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2">
    <p:spTree>
      <p:nvGrpSpPr>
        <p:cNvPr id="1" name="Shape 7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21" name="Google Shape;7321;p1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22" name="Google Shape;7322;p1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3" name="Google Shape;7323;p1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24" name="Google Shape;7324;p1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25" name="Google Shape;7325;p1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26" name="Google Shape;7326;p1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7" name="Google Shape;7327;p1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28" name="Google Shape;7328;p1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9" name="Google Shape;7329;p1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2">
    <p:spTree>
      <p:nvGrpSpPr>
        <p:cNvPr id="1" name="Shape 7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31" name="Google Shape;7331;p12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32" name="Google Shape;7332;p12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3" name="Google Shape;7333;p12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34" name="Google Shape;7334;p12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35" name="Google Shape;7335;p12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6" name="Google Shape;7336;p12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37" name="Google Shape;7337;p1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38" name="Google Shape;7338;p12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2">
    <p:spTree>
      <p:nvGrpSpPr>
        <p:cNvPr id="1" name="Shape 7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0" name="Google Shape;7340;p1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41" name="Google Shape;7341;p1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42" name="Google Shape;7342;p1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43" name="Google Shape;7343;p1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4" name="Google Shape;7344;p1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45" name="Google Shape;7345;p1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46" name="Google Shape;7346;p1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7" name="Google Shape;7347;p1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4">
    <p:spTree>
      <p:nvGrpSpPr>
        <p:cNvPr id="1" name="Shape 7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9" name="Google Shape;7349;p12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0" name="Google Shape;7350;p12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51" name="Google Shape;7351;p12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52" name="Google Shape;7352;p12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3" name="Google Shape;7353;p12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54" name="Google Shape;7354;p12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55" name="Google Shape;7355;p12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56" name="Google Shape;7356;p12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7" name="Google Shape;7357;p12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58" name="Google Shape;7358;p12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59" name="Google Shape;7359;p12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60" name="Google Shape;7360;p12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3">
    <p:spTree>
      <p:nvGrpSpPr>
        <p:cNvPr id="1" name="Shape 7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" name="Google Shape;7362;p12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63" name="Google Shape;7363;p12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64" name="Google Shape;7364;p12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65" name="Google Shape;7365;p12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66" name="Google Shape;7366;p12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67" name="Google Shape;7367;p12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8" name="Google Shape;7368;p12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69" name="Google Shape;7369;p1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3">
    <p:bg>
      <p:bgPr>
        <a:solidFill>
          <a:schemeClr val="lt2"/>
        </a:solidFill>
        <a:effectLst/>
      </p:bgPr>
    </p:bg>
    <p:spTree>
      <p:nvGrpSpPr>
        <p:cNvPr id="1" name="Shape 7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71" name="Google Shape;7371;p12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372" name="Google Shape;7372;p12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3" name="Google Shape;7373;p1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4" name="Google Shape;7374;p12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75" name="Google Shape;7375;p1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376" name="Google Shape;7376;p12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77" name="Google Shape;7377;p12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3">
    <p:spTree>
      <p:nvGrpSpPr>
        <p:cNvPr id="1" name="Shape 7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9" name="Google Shape;7379;p128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380" name="Google Shape;7380;p128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381" name="Google Shape;7381;p128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82" name="Google Shape;7382;p128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3" name="Google Shape;7383;p128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84" name="Google Shape;7384;p128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385" name="Google Shape;7385;p12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4">
    <p:spTree>
      <p:nvGrpSpPr>
        <p:cNvPr id="1" name="Shape 7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7" name="Google Shape;7387;p128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88" name="Google Shape;7388;p12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9" name="Google Shape;7389;p12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90" name="Google Shape;7390;p1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91" name="Google Shape;7391;p1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92" name="Google Shape;7392;p1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93" name="Google Shape;7393;p1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94" name="Google Shape;7394;p1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5" name="Google Shape;7395;p1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96" name="Google Shape;7396;p1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7" name="Google Shape;7397;p1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98" name="Google Shape;7398;p128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3">
    <p:spTree>
      <p:nvGrpSpPr>
        <p:cNvPr id="1" name="Shape 7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00" name="Google Shape;7400;p12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01" name="Google Shape;7401;p1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02" name="Google Shape;7402;p12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3" name="Google Shape;7403;p1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04" name="Google Shape;7404;p1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5" name="Google Shape;7405;p12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6" name="Google Shape;7406;p12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07" name="Google Shape;7407;p1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08" name="Google Shape;7408;p1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09" name="Google Shape;7409;p1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3">
    <p:spTree>
      <p:nvGrpSpPr>
        <p:cNvPr id="1" name="Shape 7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1" name="Google Shape;7411;p9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2" name="Google Shape;7412;p9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413" name="Google Shape;7413;p9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14" name="Google Shape;7414;p9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15" name="Google Shape;7415;p9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16" name="Google Shape;7416;p9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7" name="Google Shape;7417;p9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18" name="Google Shape;7418;p9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9" name="Google Shape;7419;p9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0" name="Google Shape;7420;p9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21" name="Google Shape;7421;p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3">
    <p:spTree>
      <p:nvGrpSpPr>
        <p:cNvPr id="1" name="Shape 7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23" name="Google Shape;7423;p9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24" name="Google Shape;7424;p9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25" name="Google Shape;7425;p9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26" name="Google Shape;7426;p9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27" name="Google Shape;7427;p9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28" name="Google Shape;7428;p9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9" name="Google Shape;7429;p9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0" name="Google Shape;7430;p9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1" name="Google Shape;7431;p9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2" name="Google Shape;7432;p9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3" name="Google Shape;7433;p9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34" name="Google Shape;7434;p9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5" name="Google Shape;7435;p9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3">
    <p:spTree>
      <p:nvGrpSpPr>
        <p:cNvPr id="1" name="Shape 7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37" name="Google Shape;7437;p9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38" name="Google Shape;7438;p9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39" name="Google Shape;7439;p9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40" name="Google Shape;7440;p9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1" name="Google Shape;7441;p9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42" name="Google Shape;7442;p9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3" name="Google Shape;7443;p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44" name="Google Shape;7444;p9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45" name="Google Shape;7445;p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3">
    <p:spTree>
      <p:nvGrpSpPr>
        <p:cNvPr id="1" name="Shape 7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7" name="Google Shape;7447;p9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448" name="Google Shape;7448;p9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9" name="Google Shape;7449;p9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450" name="Google Shape;7450;p9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1" name="Google Shape;7451;p9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2" name="Google Shape;7452;p9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53" name="Google Shape;7453;p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454" name="Google Shape;7454;p9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3">
    <p:spTree>
      <p:nvGrpSpPr>
        <p:cNvPr id="1" name="Shape 7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6" name="Google Shape;7456;p9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57" name="Google Shape;7457;p9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58" name="Google Shape;7458;p9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59" name="Google Shape;7459;p9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60" name="Google Shape;7460;p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1" name="Google Shape;7461;p9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62" name="Google Shape;7462;p9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63" name="Google Shape;7463;p9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5">
    <p:spTree>
      <p:nvGrpSpPr>
        <p:cNvPr id="1" name="Shape 7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5" name="Google Shape;7465;p9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6" name="Google Shape;7466;p9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7" name="Google Shape;7467;p9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8" name="Google Shape;7468;p9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69" name="Google Shape;7469;p9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70" name="Google Shape;7470;p9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71" name="Google Shape;7471;p9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72" name="Google Shape;7472;p9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73" name="Google Shape;7473;p9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4" name="Google Shape;7474;p9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5" name="Google Shape;7475;p9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76" name="Google Shape;7476;p9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7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8" name="Google Shape;7478;p92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9" name="Google Shape;7479;p92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80" name="Google Shape;7480;p9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1" name="Google Shape;7481;p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2" name="Google Shape;7482;p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7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4" name="Google Shape;7484;p92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85" name="Google Shape;7485;p92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6" name="Google Shape;7486;p92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7" name="Google Shape;7487;p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8" name="Google Shape;7488;p9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89" name="Google Shape;7489;p92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0" name="Google Shape;7490;p92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1" name="Google Shape;7491;p92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92" name="Google Shape;7492;p9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7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4" name="Google Shape;7494;p12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95" name="Google Shape;7495;p12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6" name="Google Shape;7496;p12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97" name="Google Shape;7497;p12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98" name="Google Shape;7498;p12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99" name="Google Shape;7499;p12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0" name="Google Shape;7500;p12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1" name="Google Shape;7501;p12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02" name="Google Shape;7502;p1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7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4" name="Google Shape;7504;p128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5" name="Google Shape;7505;p128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6" name="Google Shape;7506;p128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07" name="Google Shape;7507;p1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08" name="Google Shape;7508;p1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09" name="Google Shape;7509;p128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0" name="Google Shape;7510;p128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1" name="Google Shape;7511;p128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2" name="Google Shape;7512;p1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 2">
    <p:spTree>
      <p:nvGrpSpPr>
        <p:cNvPr id="1" name="Shape 7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4" name="Google Shape;7514;p128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5" name="Google Shape;7515;p128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6" name="Google Shape;7516;p128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17" name="Google Shape;7517;p12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18" name="Google Shape;7518;p1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19" name="Google Shape;7519;p128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0" name="Google Shape;7520;p128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1" name="Google Shape;7521;p128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2" name="Google Shape;7522;p1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7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4" name="Google Shape;7524;p12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25" name="Google Shape;7525;p12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6" name="Google Shape;7526;p12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7" name="Google Shape;7527;p12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8" name="Google Shape;7528;p1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7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0" name="Google Shape;7530;p9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31" name="Google Shape;7531;p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32" name="Google Shape;7532;p9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3" name="Google Shape;7533;p92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4" name="Google Shape;7534;p92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7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6" name="Google Shape;7536;p92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7" name="Google Shape;7537;p92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8" name="Google Shape;7538;p92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9" name="Google Shape;7539;p92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0" name="Google Shape;7540;p92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41" name="Google Shape;7541;p9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2">
    <p:spTree>
      <p:nvGrpSpPr>
        <p:cNvPr id="1" name="Shape 7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3" name="Google Shape;7543;p9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4" name="Google Shape;7544;p9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5" name="Google Shape;7545;p9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46" name="Google Shape;7546;p9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47" name="Google Shape;7547;p9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48" name="Google Shape;7548;p9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9" name="Google Shape;7549;p9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0" name="Google Shape;7550;p9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1" name="Google Shape;7551;p9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7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3" name="Google Shape;7553;p9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54" name="Google Shape;7554;p9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5" name="Google Shape;7555;p9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6" name="Google Shape;7556;p9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7" name="Google Shape;7557;p9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7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9" name="Google Shape;7559;p12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60" name="Google Shape;7560;p1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61" name="Google Shape;7561;p12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2" name="Google Shape;7562;p12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3" name="Google Shape;7563;p12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7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5" name="Google Shape;7565;p12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6" name="Google Shape;7566;p12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7" name="Google Shape;7567;p12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8" name="Google Shape;7568;p12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9" name="Google Shape;7569;p12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70" name="Google Shape;7570;p1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7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2" name="Google Shape;7572;p128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73" name="Google Shape;7573;p128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4" name="Google Shape;7574;p12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75" name="Google Shape;7575;p12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76" name="Google Shape;7576;p12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77" name="Google Shape;7577;p128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8" name="Google Shape;7578;p128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9" name="Google Shape;7579;p128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0" name="Google Shape;7580;p1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7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2" name="Google Shape;7582;p129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3" name="Google Shape;7583;p12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4" name="Google Shape;7584;p12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5" name="Google Shape;7585;p129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6" name="Google Shape;7586;p12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7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8" name="Google Shape;7588;p12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89" name="Google Shape;7589;p1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90" name="Google Shape;7590;p12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1" name="Google Shape;7591;p129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92" name="Google Shape;7592;p129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7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4" name="Google Shape;7594;p129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5" name="Google Shape;7595;p129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6" name="Google Shape;7596;p129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7" name="Google Shape;7597;p129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8" name="Google Shape;7598;p129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99" name="Google Shape;7599;p1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3">
    <p:spTree>
      <p:nvGrpSpPr>
        <p:cNvPr id="1" name="Shape 7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1" name="Google Shape;7601;p129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2" name="Google Shape;7602;p129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3" name="Google Shape;7603;p129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04" name="Google Shape;7604;p12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05" name="Google Shape;7605;p1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06" name="Google Shape;7606;p129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7" name="Google Shape;7607;p129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8" name="Google Shape;7608;p129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09" name="Google Shape;7609;p1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 2">
    <p:spTree>
      <p:nvGrpSpPr>
        <p:cNvPr id="1" name="Shape 7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1" name="Google Shape;7611;p129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12" name="Google Shape;7612;p12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3" name="Google Shape;7613;p12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4" name="Google Shape;7614;p129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15" name="Google Shape;7615;p1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 2">
    <p:spTree>
      <p:nvGrpSpPr>
        <p:cNvPr id="1" name="Shape 7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7" name="Google Shape;7617;p12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18" name="Google Shape;7618;p1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19" name="Google Shape;7619;p12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0" name="Google Shape;7620;p129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1" name="Google Shape;7621;p129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 2">
    <p:spTree>
      <p:nvGrpSpPr>
        <p:cNvPr id="1" name="Shape 7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3" name="Google Shape;7623;p12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4" name="Google Shape;7624;p12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5" name="Google Shape;7625;p129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6" name="Google Shape;7626;p129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7" name="Google Shape;7627;p129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28" name="Google Shape;7628;p1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 2">
    <p:spTree>
      <p:nvGrpSpPr>
        <p:cNvPr id="1" name="Shape 7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0" name="Google Shape;7630;p129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1" name="Google Shape;7631;p129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2" name="Google Shape;7632;p12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33" name="Google Shape;7633;p1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34" name="Google Shape;7634;p1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35" name="Google Shape;7635;p129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6" name="Google Shape;7636;p129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7" name="Google Shape;7637;p129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38" name="Google Shape;7638;p1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 2">
    <p:spTree>
      <p:nvGrpSpPr>
        <p:cNvPr id="1" name="Shape 7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0" name="Google Shape;7640;p94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1" name="Google Shape;7641;p9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2" name="Google Shape;7642;p9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3" name="Google Shape;7643;p94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44" name="Google Shape;7644;p9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 2">
    <p:spTree>
      <p:nvGrpSpPr>
        <p:cNvPr id="1" name="Shape 7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6" name="Google Shape;7646;p94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47" name="Google Shape;7647;p9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48" name="Google Shape;7648;p94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9" name="Google Shape;7649;p94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0" name="Google Shape;7650;p94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 2">
    <p:spTree>
      <p:nvGrpSpPr>
        <p:cNvPr id="1" name="Shape 7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2" name="Google Shape;7652;p9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3" name="Google Shape;7653;p9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4" name="Google Shape;7654;p94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5" name="Google Shape;7655;p94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6" name="Google Shape;7656;p94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57" name="Google Shape;7657;p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7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9" name="Google Shape;7659;p94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0" name="Google Shape;7660;p94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61" name="Google Shape;7661;p9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62" name="Google Shape;7662;p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63" name="Google Shape;7663;p9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64" name="Google Shape;7664;p94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5" name="Google Shape;7665;p94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6" name="Google Shape;7666;p94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67" name="Google Shape;7667;p9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7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9" name="Google Shape;7669;p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70" name="Google Shape;7670;p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1" name="Google Shape;7671;p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72" name="Google Shape;7672;p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73" name="Google Shape;7673;p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74" name="Google Shape;7674;p94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5" name="Google Shape;7675;p94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6" name="Google Shape;7676;p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77" name="Google Shape;7677;p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7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9" name="Google Shape;7679;p129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0" name="Google Shape;7680;p12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1" name="Google Shape;7681;p12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2" name="Google Shape;7682;p129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83" name="Google Shape;7683;p1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7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5" name="Google Shape;7685;p129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86" name="Google Shape;7686;p12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87" name="Google Shape;7687;p129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8" name="Google Shape;7688;p129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9" name="Google Shape;7689;p129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7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1" name="Google Shape;7691;p1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2" name="Google Shape;7692;p1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3" name="Google Shape;7693;p130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4" name="Google Shape;7694;p130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5" name="Google Shape;7695;p130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96" name="Google Shape;7696;p1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7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8" name="Google Shape;7698;p9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9" name="Google Shape;7699;p9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0" name="Google Shape;7700;p9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01" name="Google Shape;7701;p9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02" name="Google Shape;7702;p9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03" name="Google Shape;7703;p9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4" name="Google Shape;7704;p9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5" name="Google Shape;7705;p9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06" name="Google Shape;7706;p9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7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8" name="Google Shape;7708;p9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9" name="Google Shape;7709;p9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0" name="Google Shape;7710;p9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1" name="Google Shape;7711;p9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12" name="Google Shape;7712;p9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7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4" name="Google Shape;7714;p9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15" name="Google Shape;7715;p9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16" name="Google Shape;7716;p9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7" name="Google Shape;7717;p9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8" name="Google Shape;7718;p9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7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0" name="Google Shape;7720;p9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1" name="Google Shape;7721;p9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2" name="Google Shape;7722;p9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3" name="Google Shape;7723;p9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4" name="Google Shape;7724;p9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25" name="Google Shape;7725;p9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7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7" name="Google Shape;7727;p95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8" name="Google Shape;7728;p9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9" name="Google Shape;7729;p9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0" name="Google Shape;7730;p95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31" name="Google Shape;7731;p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7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3" name="Google Shape;7733;p9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34" name="Google Shape;7734;p9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35" name="Google Shape;7735;p9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6" name="Google Shape;7736;p9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7" name="Google Shape;7737;p9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7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9" name="Google Shape;7739;p9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0" name="Google Shape;7740;p9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1" name="Google Shape;7741;p9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2" name="Google Shape;7742;p9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3" name="Google Shape;7743;p9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44" name="Google Shape;7744;p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2">
    <p:spTree>
      <p:nvGrpSpPr>
        <p:cNvPr id="1" name="Shape 7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6" name="Google Shape;7746;p95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7" name="Google Shape;7747;p95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48" name="Google Shape;7748;p95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49" name="Google Shape;7749;p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50" name="Google Shape;7750;p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51" name="Google Shape;7751;p95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2" name="Google Shape;7752;p95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3" name="Google Shape;7753;p95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54" name="Google Shape;7754;p9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2">
    <p:spTree>
      <p:nvGrpSpPr>
        <p:cNvPr id="1" name="Shape 7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6" name="Google Shape;7756;p95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7" name="Google Shape;7757;p95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8" name="Google Shape;7758;p95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59" name="Google Shape;7759;p9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60" name="Google Shape;7760;p9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1" name="Google Shape;7761;p95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2" name="Google Shape;7762;p95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3" name="Google Shape;7763;p95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64" name="Google Shape;7764;p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2">
    <p:spTree>
      <p:nvGrpSpPr>
        <p:cNvPr id="1" name="Shape 7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66" name="Google Shape;7766;p96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7" name="Google Shape;7767;p96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8" name="Google Shape;7768;p96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9" name="Google Shape;7769;p96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70" name="Google Shape;7770;p9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2">
    <p:spTree>
      <p:nvGrpSpPr>
        <p:cNvPr id="1" name="Shape 7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2" name="Google Shape;7772;p9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73" name="Google Shape;7773;p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74" name="Google Shape;7774;p9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5" name="Google Shape;7775;p96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76" name="Google Shape;7776;p96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2">
    <p:spTree>
      <p:nvGrpSpPr>
        <p:cNvPr id="1" name="Shape 7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8" name="Google Shape;7778;p9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9" name="Google Shape;7779;p9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80" name="Google Shape;7780;p9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1" name="Google Shape;7781;p9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2" name="Google Shape;7782;p9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83" name="Google Shape;7783;p9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2">
    <p:spTree>
      <p:nvGrpSpPr>
        <p:cNvPr id="1" name="Shape 7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5" name="Google Shape;7785;p96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6" name="Google Shape;7786;p96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7" name="Google Shape;7787;p96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88" name="Google Shape;7788;p9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89" name="Google Shape;7789;p9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90" name="Google Shape;7790;p96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1" name="Google Shape;7791;p96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2" name="Google Shape;7792;p96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3" name="Google Shape;7793;p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2">
    <p:spTree>
      <p:nvGrpSpPr>
        <p:cNvPr id="1" name="Shape 7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5" name="Google Shape;7795;p96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6" name="Google Shape;7796;p96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7" name="Google Shape;7797;p96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8" name="Google Shape;7798;p96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9" name="Google Shape;7799;p9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2">
    <p:spTree>
      <p:nvGrpSpPr>
        <p:cNvPr id="1" name="Shape 7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1" name="Google Shape;7801;p9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02" name="Google Shape;7802;p9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03" name="Google Shape;7803;p9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4" name="Google Shape;7804;p96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05" name="Google Shape;7805;p96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2">
    <p:spTree>
      <p:nvGrpSpPr>
        <p:cNvPr id="1" name="Shape 7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7" name="Google Shape;7807;p9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8" name="Google Shape;7808;p9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9" name="Google Shape;7809;p96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0" name="Google Shape;7810;p96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1" name="Google Shape;7811;p96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12" name="Google Shape;7812;p9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3">
    <p:spTree>
      <p:nvGrpSpPr>
        <p:cNvPr id="1" name="Shape 7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4" name="Google Shape;7814;p96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5" name="Google Shape;7815;p96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6" name="Google Shape;7816;p96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17" name="Google Shape;7817;p9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18" name="Google Shape;7818;p9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19" name="Google Shape;7819;p96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0" name="Google Shape;7820;p96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1" name="Google Shape;7821;p96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22" name="Google Shape;7822;p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3">
    <p:spTree>
      <p:nvGrpSpPr>
        <p:cNvPr id="1" name="Shape 7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4" name="Google Shape;7824;p9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5" name="Google Shape;7825;p9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6" name="Google Shape;7826;p9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27" name="Google Shape;7827;p9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28" name="Google Shape;7828;p9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29" name="Google Shape;7829;p9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0" name="Google Shape;7830;p9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1" name="Google Shape;7831;p9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2" name="Google Shape;7832;p9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3">
    <p:spTree>
      <p:nvGrpSpPr>
        <p:cNvPr id="1" name="Shape 7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4" name="Google Shape;7834;p96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5" name="Google Shape;7835;p96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6" name="Google Shape;7836;p96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7" name="Google Shape;7837;p96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8" name="Google Shape;7838;p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3">
    <p:spTree>
      <p:nvGrpSpPr>
        <p:cNvPr id="1" name="Shape 7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0" name="Google Shape;7840;p9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41" name="Google Shape;7841;p9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42" name="Google Shape;7842;p9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3" name="Google Shape;7843;p97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4" name="Google Shape;7844;p97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3">
    <p:spTree>
      <p:nvGrpSpPr>
        <p:cNvPr id="1" name="Shape 7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6" name="Google Shape;7846;p9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7" name="Google Shape;7847;p9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8" name="Google Shape;7848;p97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9" name="Google Shape;7849;p97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0" name="Google Shape;7850;p97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51" name="Google Shape;7851;p9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3">
    <p:spTree>
      <p:nvGrpSpPr>
        <p:cNvPr id="1" name="Shape 7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3" name="Google Shape;7853;p97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4" name="Google Shape;7854;p97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55" name="Google Shape;7855;p97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56" name="Google Shape;7856;p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57" name="Google Shape;7857;p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58" name="Google Shape;7858;p97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59" name="Google Shape;7859;p97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0" name="Google Shape;7860;p97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1" name="Google Shape;7861;p9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3">
    <p:spTree>
      <p:nvGrpSpPr>
        <p:cNvPr id="1" name="Shape 7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3" name="Google Shape;7863;p97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64" name="Google Shape;7864;p97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5" name="Google Shape;7865;p97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6" name="Google Shape;7866;p97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7" name="Google Shape;7867;p9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3">
    <p:spTree>
      <p:nvGrpSpPr>
        <p:cNvPr id="1" name="Shape 7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9" name="Google Shape;7869;p97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70" name="Google Shape;7870;p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71" name="Google Shape;7871;p97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2" name="Google Shape;7872;p97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3" name="Google Shape;7873;p97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3">
    <p:spTree>
      <p:nvGrpSpPr>
        <p:cNvPr id="1" name="Shape 7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5" name="Google Shape;7875;p97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6" name="Google Shape;7876;p97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7" name="Google Shape;7877;p97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8" name="Google Shape;7878;p97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9" name="Google Shape;7879;p97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80" name="Google Shape;7880;p9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7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2" name="Google Shape;7882;p9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83" name="Google Shape;7883;p9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4" name="Google Shape;7884;p9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885" name="Google Shape;7885;p9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886" name="Google Shape;7886;p9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887" name="Google Shape;7887;p9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88" name="Google Shape;7888;p9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89" name="Google Shape;7889;p9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7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91" name="Google Shape;7891;p9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892" name="Google Shape;7892;p9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3" name="Google Shape;7893;p9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4" name="Google Shape;7894;p9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95" name="Google Shape;7895;p9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896" name="Google Shape;7896;p9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97" name="Google Shape;7897;p9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7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99" name="Google Shape;7899;p9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00" name="Google Shape;7900;p9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01" name="Google Shape;7901;p9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902" name="Google Shape;7902;p9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3" name="Google Shape;7903;p9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04" name="Google Shape;7904;p9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905" name="Google Shape;7905;p9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7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7" name="Google Shape;7907;p9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08" name="Google Shape;7908;p9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9" name="Google Shape;7909;p9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10" name="Google Shape;7910;p9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11" name="Google Shape;7911;p9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2" name="Google Shape;7912;p9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13" name="Google Shape;7913;p9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14" name="Google Shape;7914;p9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15" name="Google Shape;7915;p9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16" name="Google Shape;7916;p9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17" name="Google Shape;7917;p9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18" name="Google Shape;7918;p9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2">
    <p:spTree>
      <p:nvGrpSpPr>
        <p:cNvPr id="1" name="Shape 7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0" name="Google Shape;7920;p9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21" name="Google Shape;7921;p9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2" name="Google Shape;7922;p9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23" name="Google Shape;7923;p9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24" name="Google Shape;7924;p9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25" name="Google Shape;7925;p9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26" name="Google Shape;7926;p9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27" name="Google Shape;7927;p9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28" name="Google Shape;7928;p9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29" name="Google Shape;7929;p9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0" name="Google Shape;7930;p9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31" name="Google Shape;7931;p9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7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Google Shape;7933;p9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4" name="Google Shape;7934;p9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35" name="Google Shape;7935;p9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6" name="Google Shape;7936;p9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37" name="Google Shape;7937;p9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38" name="Google Shape;7938;p9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9" name="Google Shape;7939;p9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40" name="Google Shape;7940;p9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1" name="Google Shape;7941;p9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42" name="Google Shape;7942;p9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3" name="Google Shape;7943;p9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7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45" name="Google Shape;7945;p9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6" name="Google Shape;7946;p9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7" name="Google Shape;7947;p9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48" name="Google Shape;7948;p9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9" name="Google Shape;7949;p9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0" name="Google Shape;7950;p9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1" name="Google Shape;7951;p9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2" name="Google Shape;7952;p9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3" name="Google Shape;7953;p9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4" name="Google Shape;7954;p9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5" name="Google Shape;7955;p9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56" name="Google Shape;7956;p9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57" name="Google Shape;7957;p9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7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59" name="Google Shape;7959;p9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60" name="Google Shape;7960;p9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1" name="Google Shape;7961;p9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2" name="Google Shape;7962;p9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3" name="Google Shape;7963;p9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64" name="Google Shape;7964;p9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5" name="Google Shape;7965;p9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66" name="Google Shape;7966;p9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7" name="Google Shape;7967;p9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7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9" name="Google Shape;7969;p9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70" name="Google Shape;7970;p9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1" name="Google Shape;7971;p9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72" name="Google Shape;7972;p9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73" name="Google Shape;7973;p9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74" name="Google Shape;7974;p9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5" name="Google Shape;7975;p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76" name="Google Shape;7976;p9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7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8" name="Google Shape;7978;p9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9" name="Google Shape;7979;p9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0" name="Google Shape;7980;p9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81" name="Google Shape;7981;p9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82" name="Google Shape;7982;p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83" name="Google Shape;7983;p9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84" name="Google Shape;7984;p9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85" name="Google Shape;7985;p9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7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" name="Google Shape;7987;p9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88" name="Google Shape;7988;p9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9" name="Google Shape;7989;p9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90" name="Google Shape;7990;p9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91" name="Google Shape;7991;p9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992" name="Google Shape;7992;p9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3" name="Google Shape;7993;p9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94" name="Google Shape;7994;p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7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96" name="Google Shape;7996;p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997" name="Google Shape;7997;p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8" name="Google Shape;7998;p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9" name="Google Shape;7999;p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00" name="Google Shape;8000;p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001" name="Google Shape;8001;p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02" name="Google Shape;8002;p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8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4" name="Google Shape;8004;p9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05" name="Google Shape;8005;p9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06" name="Google Shape;8006;p9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07" name="Google Shape;8007;p9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8" name="Google Shape;8008;p9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09" name="Google Shape;8009;p9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010" name="Google Shape;8010;p9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8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2" name="Google Shape;8012;p9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13" name="Google Shape;8013;p9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14" name="Google Shape;8014;p9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5" name="Google Shape;8015;p9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6" name="Google Shape;8016;p9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17" name="Google Shape;8017;p9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18" name="Google Shape;8018;p9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19" name="Google Shape;8019;p9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20" name="Google Shape;8020;p9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21" name="Google Shape;8021;p9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22" name="Google Shape;8022;p9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23" name="Google Shape;8023;p9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2">
    <p:spTree>
      <p:nvGrpSpPr>
        <p:cNvPr id="1" name="Shape 8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5" name="Google Shape;8025;p9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26" name="Google Shape;8026;p9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27" name="Google Shape;8027;p9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8" name="Google Shape;8028;p9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29" name="Google Shape;8029;p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30" name="Google Shape;8030;p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31" name="Google Shape;8031;p9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2" name="Google Shape;8032;p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33" name="Google Shape;8033;p9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34" name="Google Shape;8034;p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35" name="Google Shape;8035;p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36" name="Google Shape;8036;p9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8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38" name="Google Shape;8038;p9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9" name="Google Shape;8039;p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40" name="Google Shape;8040;p9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41" name="Google Shape;8041;p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42" name="Google Shape;8042;p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43" name="Google Shape;8043;p9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44" name="Google Shape;8044;p9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5" name="Google Shape;8045;p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6" name="Google Shape;8046;p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7" name="Google Shape;8047;p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8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9" name="Google Shape;8049;p9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50" name="Google Shape;8050;p9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051" name="Google Shape;8051;p9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52" name="Google Shape;8052;p9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3" name="Google Shape;8053;p9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54" name="Google Shape;8054;p9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55" name="Google Shape;8055;p9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56" name="Google Shape;8056;p9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7" name="Google Shape;8057;p9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58" name="Google Shape;8058;p9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9" name="Google Shape;8059;p9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8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61" name="Google Shape;8061;p9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62" name="Google Shape;8062;p9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3" name="Google Shape;8063;p9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4" name="Google Shape;8064;p9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65" name="Google Shape;8065;p9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66" name="Google Shape;8066;p9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67" name="Google Shape;8067;p9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68" name="Google Shape;8068;p9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69" name="Google Shape;8069;p9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70" name="Google Shape;8070;p9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71" name="Google Shape;8071;p9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72" name="Google Shape;8072;p9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3" name="Google Shape;8073;p9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8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5" name="Google Shape;8075;p9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76" name="Google Shape;8076;p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77" name="Google Shape;8077;p9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78" name="Google Shape;8078;p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9" name="Google Shape;8079;p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80" name="Google Shape;8080;p9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81" name="Google Shape;8081;p9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82" name="Google Shape;8082;p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83" name="Google Shape;8083;p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8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85" name="Google Shape;8085;p9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86" name="Google Shape;8086;p9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7" name="Google Shape;8087;p9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88" name="Google Shape;8088;p9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9" name="Google Shape;8089;p9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90" name="Google Shape;8090;p9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91" name="Google Shape;8091;p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92" name="Google Shape;8092;p9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8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4" name="Google Shape;8094;p9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95" name="Google Shape;8095;p9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96" name="Google Shape;8096;p9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97" name="Google Shape;8097;p9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98" name="Google Shape;8098;p9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9" name="Google Shape;8099;p9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0" name="Google Shape;8100;p9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01" name="Google Shape;8101;p9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8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3" name="Google Shape;8103;p99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104" name="Google Shape;8104;p9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105" name="Google Shape;8105;p99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106" name="Google Shape;8106;p99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07" name="Google Shape;8107;p99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108" name="Google Shape;8108;p99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09" name="Google Shape;8109;p99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0" name="Google Shape;8110;p99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1" name="Google Shape;8111;p99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oogle Shape;79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" name="Google Shape;80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" name="Google Shape;81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" name="Google Shape;82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" name="Google Shape;84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" name="Google Shape;87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" name="Google Shape;88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 2">
    <p:spTree>
      <p:nvGrpSpPr>
        <p:cNvPr id="1" name="Shape 8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3" name="Google Shape;8113;p9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14" name="Google Shape;8114;p9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5" name="Google Shape;8115;p9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16" name="Google Shape;8116;p9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17" name="Google Shape;8117;p9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18" name="Google Shape;8118;p9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19" name="Google Shape;8119;p9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0" name="Google Shape;8120;p9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 2">
    <p:bg>
      <p:bgPr>
        <a:solidFill>
          <a:schemeClr val="lt2"/>
        </a:solidFill>
        <a:effectLst/>
      </p:bgPr>
    </p:bg>
    <p:spTree>
      <p:nvGrpSpPr>
        <p:cNvPr id="1" name="Shape 8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22" name="Google Shape;8122;p9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23" name="Google Shape;8123;p9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4" name="Google Shape;8124;p9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5" name="Google Shape;8125;p9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6" name="Google Shape;8126;p9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127" name="Google Shape;8127;p9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28" name="Google Shape;8128;p9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 2">
    <p:spTree>
      <p:nvGrpSpPr>
        <p:cNvPr id="1" name="Shape 8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0" name="Google Shape;8130;p10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131" name="Google Shape;8131;p10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132" name="Google Shape;8132;p10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133" name="Google Shape;8133;p10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34" name="Google Shape;8134;p10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35" name="Google Shape;8135;p10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36" name="Google Shape;8136;p10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3">
    <p:spTree>
      <p:nvGrpSpPr>
        <p:cNvPr id="1" name="Shape 8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8" name="Google Shape;8138;p10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39" name="Google Shape;8139;p10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40" name="Google Shape;8140;p10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1" name="Google Shape;8141;p10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2" name="Google Shape;8142;p10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43" name="Google Shape;8143;p10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44" name="Google Shape;8144;p10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45" name="Google Shape;8145;p10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6" name="Google Shape;8146;p10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47" name="Google Shape;8147;p10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48" name="Google Shape;8148;p10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49" name="Google Shape;8149;p10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4">
    <p:spTree>
      <p:nvGrpSpPr>
        <p:cNvPr id="1" name="Shape 8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1" name="Google Shape;8151;p10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52" name="Google Shape;8152;p10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53" name="Google Shape;8153;p1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4" name="Google Shape;8154;p10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5" name="Google Shape;8155;p1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6" name="Google Shape;8156;p1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57" name="Google Shape;8157;p10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58" name="Google Shape;8158;p1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59" name="Google Shape;8159;p10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60" name="Google Shape;8160;p1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1" name="Google Shape;8161;p1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62" name="Google Shape;8162;p10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5">
    <p:spTree>
      <p:nvGrpSpPr>
        <p:cNvPr id="1" name="Shape 8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4" name="Google Shape;8164;p10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65" name="Google Shape;8165;p10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6" name="Google Shape;8166;p10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67" name="Google Shape;8167;p1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68" name="Google Shape;8168;p1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9" name="Google Shape;8169;p1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70" name="Google Shape;8170;p10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71" name="Google Shape;8171;p1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72" name="Google Shape;8172;p10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73" name="Google Shape;8173;p1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74" name="Google Shape;8174;p1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75" name="Google Shape;8175;p10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 2">
    <p:spTree>
      <p:nvGrpSpPr>
        <p:cNvPr id="1" name="Shape 8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7" name="Google Shape;8177;p10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78" name="Google Shape;8178;p10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79" name="Google Shape;8179;p10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80" name="Google Shape;8180;p10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1" name="Google Shape;8181;p10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82" name="Google Shape;8182;p10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83" name="Google Shape;8183;p10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84" name="Google Shape;8184;p10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85" name="Google Shape;8185;p10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86" name="Google Shape;8186;p10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87" name="Google Shape;8187;p10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 2">
    <p:spTree>
      <p:nvGrpSpPr>
        <p:cNvPr id="1" name="Shape 8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9" name="Google Shape;8189;p10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90" name="Google Shape;8190;p10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1" name="Google Shape;8191;p10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92" name="Google Shape;8192;p10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93" name="Google Shape;8193;p10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94" name="Google Shape;8194;p10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5" name="Google Shape;8195;p10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6" name="Google Shape;8196;p10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7" name="Google Shape;8197;p10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8" name="Google Shape;8198;p10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9" name="Google Shape;8199;p1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00" name="Google Shape;8200;p10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01" name="Google Shape;8201;p1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 2">
    <p:spTree>
      <p:nvGrpSpPr>
        <p:cNvPr id="1" name="Shape 8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03" name="Google Shape;8203;p10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04" name="Google Shape;8204;p10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05" name="Google Shape;8205;p10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06" name="Google Shape;8206;p10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07" name="Google Shape;8207;p10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08" name="Google Shape;8208;p10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9" name="Google Shape;8209;p10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0" name="Google Shape;8210;p10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11" name="Google Shape;8211;p10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 2">
    <p:spTree>
      <p:nvGrpSpPr>
        <p:cNvPr id="1" name="Shape 8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3" name="Google Shape;8213;p10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214" name="Google Shape;8214;p10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5" name="Google Shape;8215;p10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16" name="Google Shape;8216;p10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17" name="Google Shape;8217;p10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18" name="Google Shape;8218;p10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19" name="Google Shape;8219;p10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20" name="Google Shape;8220;p10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 2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p1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p10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p10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p10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26" name="Google Shape;8226;p10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p10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28" name="Google Shape;8228;p10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p10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 2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0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32" name="Google Shape;8232;p10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33" name="Google Shape;8233;p10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34" name="Google Shape;8234;p10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35" name="Google Shape;8235;p10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36" name="Google Shape;8236;p10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37" name="Google Shape;8237;p10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38" name="Google Shape;8238;p1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 2">
    <p:bg>
      <p:bgPr>
        <a:solidFill>
          <a:schemeClr val="lt2"/>
        </a:solidFill>
        <a:effectLst/>
      </p:bgPr>
    </p:bg>
    <p:spTree>
      <p:nvGrpSpPr>
        <p:cNvPr id="1" name="Shape 8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40" name="Google Shape;8240;p10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241" name="Google Shape;8241;p10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2" name="Google Shape;8242;p10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3" name="Google Shape;8243;p10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4" name="Google Shape;8244;p10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45" name="Google Shape;8245;p10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6" name="Google Shape;8246;p10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 2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p10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49" name="Google Shape;8249;p10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50" name="Google Shape;8250;p10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251" name="Google Shape;8251;p10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52" name="Google Shape;8252;p10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53" name="Google Shape;8253;p10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54" name="Google Shape;8254;p10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3">
    <p:spTree>
      <p:nvGrpSpPr>
        <p:cNvPr id="1" name="Shape 8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6" name="Google Shape;8256;p10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7" name="Google Shape;8257;p10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8" name="Google Shape;8258;p10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9" name="Google Shape;8259;p10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0" name="Google Shape;8260;p1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1" name="Google Shape;8261;p1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62" name="Google Shape;8262;p10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63" name="Google Shape;8263;p1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4" name="Google Shape;8264;p10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5" name="Google Shape;8265;p1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66" name="Google Shape;8266;p1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67" name="Google Shape;8267;p10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4">
    <p:spTree>
      <p:nvGrpSpPr>
        <p:cNvPr id="1" name="Shape 8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9" name="Google Shape;8269;p10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0" name="Google Shape;8270;p10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71" name="Google Shape;8271;p10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72" name="Google Shape;8272;p10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73" name="Google Shape;8273;p10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74" name="Google Shape;8274;p10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75" name="Google Shape;8275;p10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6" name="Google Shape;8276;p10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7" name="Google Shape;8277;p10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78" name="Google Shape;8278;p10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9" name="Google Shape;8279;p10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0" name="Google Shape;8280;p10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5">
    <p:spTree>
      <p:nvGrpSpPr>
        <p:cNvPr id="1" name="Shape 8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2" name="Google Shape;8282;p10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83" name="Google Shape;8283;p10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4" name="Google Shape;8284;p10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5" name="Google Shape;8285;p10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6" name="Google Shape;8286;p10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7" name="Google Shape;8287;p10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88" name="Google Shape;8288;p10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89" name="Google Shape;8289;p10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0" name="Google Shape;8290;p10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1" name="Google Shape;8291;p10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2" name="Google Shape;8292;p10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93" name="Google Shape;8293;p10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 2">
    <p:spTree>
      <p:nvGrpSpPr>
        <p:cNvPr id="1" name="Shape 8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95" name="Google Shape;8295;p10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96" name="Google Shape;8296;p1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7" name="Google Shape;8297;p10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8" name="Google Shape;8298;p1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9" name="Google Shape;8299;p1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00" name="Google Shape;8300;p1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1" name="Google Shape;8301;p1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02" name="Google Shape;8302;p10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3" name="Google Shape;8303;p1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04" name="Google Shape;8304;p1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 2">
    <p:spTree>
      <p:nvGrpSpPr>
        <p:cNvPr id="1" name="Shape 8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6" name="Google Shape;8306;p10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7" name="Google Shape;8307;p10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308" name="Google Shape;8308;p10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09" name="Google Shape;8309;p10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10" name="Google Shape;8310;p10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11" name="Google Shape;8311;p10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12" name="Google Shape;8312;p10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3" name="Google Shape;8313;p10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4" name="Google Shape;8314;p10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5" name="Google Shape;8315;p10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6" name="Google Shape;8316;p10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 2">
    <p:spTree>
      <p:nvGrpSpPr>
        <p:cNvPr id="1" name="Shape 8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18" name="Google Shape;8318;p10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19" name="Google Shape;8319;p10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20" name="Google Shape;8320;p10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21" name="Google Shape;8321;p10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22" name="Google Shape;8322;p10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23" name="Google Shape;8323;p10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4" name="Google Shape;8324;p10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5" name="Google Shape;8325;p10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6" name="Google Shape;8326;p10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7" name="Google Shape;8327;p10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8" name="Google Shape;8328;p10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29" name="Google Shape;8329;p10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30" name="Google Shape;8330;p10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 2">
    <p:spTree>
      <p:nvGrpSpPr>
        <p:cNvPr id="1" name="Shape 8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32" name="Google Shape;8332;p10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3" name="Google Shape;8333;p10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34" name="Google Shape;8334;p10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35" name="Google Shape;8335;p10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36" name="Google Shape;8336;p10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37" name="Google Shape;8337;p10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8" name="Google Shape;8338;p10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39" name="Google Shape;8339;p10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0" name="Google Shape;8340;p10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 2">
    <p:spTree>
      <p:nvGrpSpPr>
        <p:cNvPr id="1" name="Shape 8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42" name="Google Shape;8342;p10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43" name="Google Shape;8343;p10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4" name="Google Shape;8344;p10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5" name="Google Shape;8345;p10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6" name="Google Shape;8346;p10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p10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48" name="Google Shape;8348;p1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49" name="Google Shape;8349;p10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 2">
    <p:spTree>
      <p:nvGrpSpPr>
        <p:cNvPr id="1" name="Shape 8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1" name="Google Shape;8351;p10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52" name="Google Shape;8352;p10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53" name="Google Shape;8353;p10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354" name="Google Shape;8354;p10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55" name="Google Shape;8355;p10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6" name="Google Shape;8356;p10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7" name="Google Shape;8357;p10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8" name="Google Shape;8358;p10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8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0" name="Google Shape;8360;p1021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61" name="Google Shape;8361;p1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62" name="Google Shape;8362;p1021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63" name="Google Shape;8363;p1021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64" name="Google Shape;8364;p10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65" name="Google Shape;8365;p102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6" name="Google Shape;8366;p1021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7" name="Google Shape;8367;p102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8" name="Google Shape;8368;p102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3">
    <p:spTree>
      <p:nvGrpSpPr>
        <p:cNvPr id="1" name="Shape 8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0" name="Google Shape;8370;p102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71" name="Google Shape;8371;p10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72" name="Google Shape;8372;p102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73" name="Google Shape;8373;p102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74" name="Google Shape;8374;p10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75" name="Google Shape;8375;p102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6" name="Google Shape;8376;p102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7" name="Google Shape;8377;p102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8" name="Google Shape;8378;p102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4">
    <p:spTree>
      <p:nvGrpSpPr>
        <p:cNvPr id="1" name="Shape 8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0" name="Google Shape;8380;p102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81" name="Google Shape;8381;p10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82" name="Google Shape;8382;p102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83" name="Google Shape;8383;p102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84" name="Google Shape;8384;p10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85" name="Google Shape;8385;p102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6" name="Google Shape;8386;p102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7" name="Google Shape;8387;p102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8" name="Google Shape;8388;p102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8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0" name="Google Shape;8390;p102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91" name="Google Shape;8391;p102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2" name="Google Shape;8392;p102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3" name="Google Shape;8393;p102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4" name="Google Shape;8394;p10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395" name="Google Shape;8395;p102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" name="Google Shape;8397;p13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8" name="Google Shape;8398;p13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9" name="Google Shape;8399;p13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00" name="Google Shape;8400;p13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01" name="Google Shape;8401;p13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02" name="Google Shape;8402;p13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3" name="Google Shape;8403;p13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4" name="Google Shape;8404;p13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05" name="Google Shape;8405;p1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2">
    <p:spTree>
      <p:nvGrpSpPr>
        <p:cNvPr id="1" name="Shape 8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" name="Google Shape;8407;p130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08" name="Google Shape;8408;p1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09" name="Google Shape;8409;p130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10" name="Google Shape;8410;p130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11" name="Google Shape;8411;p130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12" name="Google Shape;8412;p130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3" name="Google Shape;8413;p130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4" name="Google Shape;8414;p130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5" name="Google Shape;8415;p130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8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7" name="Google Shape;8417;p102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8" name="Google Shape;8418;p1027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9" name="Google Shape;8419;p1027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0" name="Google Shape;8420;p1027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1" name="Google Shape;8421;p10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22" name="Google Shape;8422;p102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 2">
    <p:spTree>
      <p:nvGrpSpPr>
        <p:cNvPr id="1" name="Shape 8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4" name="Google Shape;8424;p13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5" name="Google Shape;8425;p13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6" name="Google Shape;8426;p1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27" name="Google Shape;8427;p1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p1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29" name="Google Shape;8429;p13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0" name="Google Shape;8430;p13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1" name="Google Shape;8431;p13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32" name="Google Shape;8432;p13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3">
    <p:spTree>
      <p:nvGrpSpPr>
        <p:cNvPr id="1" name="Shape 8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4" name="Google Shape;8434;p130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35" name="Google Shape;8435;p13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36" name="Google Shape;8436;p130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37" name="Google Shape;8437;p130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38" name="Google Shape;8438;p130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39" name="Google Shape;8439;p130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0" name="Google Shape;8440;p130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1" name="Google Shape;8441;p130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2" name="Google Shape;8442;p130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2">
    <p:spTree>
      <p:nvGrpSpPr>
        <p:cNvPr id="1" name="Shape 8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4" name="Google Shape;8444;p130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45" name="Google Shape;8445;p130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6" name="Google Shape;8446;p130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7" name="Google Shape;8447;p130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8" name="Google Shape;8448;p13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49" name="Google Shape;8449;p130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8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1" name="Google Shape;8451;p130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2" name="Google Shape;8452;p130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3" name="Google Shape;8453;p130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54" name="Google Shape;8454;p1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55" name="Google Shape;8455;p1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56" name="Google Shape;8456;p130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7" name="Google Shape;8457;p130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8" name="Google Shape;8458;p130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59" name="Google Shape;8459;p13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8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1" name="Google Shape;8461;p130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2" name="Google Shape;8462;p130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3" name="Google Shape;8463;p130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4" name="Google Shape;8464;p130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65" name="Google Shape;8465;p1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8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7" name="Google Shape;8467;p13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68" name="Google Shape;8468;p13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8469" name="Google Shape;8469;p13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0" name="Google Shape;8470;p130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71" name="Google Shape;8471;p130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8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3" name="Google Shape;8473;p13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4" name="Google Shape;8474;p13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5" name="Google Shape;8475;p130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6" name="Google Shape;8476;p130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7" name="Google Shape;8477;p130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78" name="Google Shape;8478;p1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4">
    <p:spTree>
      <p:nvGrpSpPr>
        <p:cNvPr id="1" name="Shape 8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0" name="Google Shape;8480;p103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81" name="Google Shape;8481;p1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82" name="Google Shape;8482;p103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83" name="Google Shape;8483;p103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84" name="Google Shape;8484;p103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85" name="Google Shape;8485;p103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6" name="Google Shape;8486;p103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7" name="Google Shape;8487;p103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8" name="Google Shape;8488;p103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3">
    <p:spTree>
      <p:nvGrpSpPr>
        <p:cNvPr id="1" name="Shape 8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0" name="Google Shape;8490;p103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1" name="Google Shape;8491;p103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2" name="Google Shape;8492;p103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3" name="Google Shape;8493;p103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4" name="Google Shape;8494;p10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95" name="Google Shape;8495;p103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2">
    <p:spTree>
      <p:nvGrpSpPr>
        <p:cNvPr id="1" name="Shape 8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7" name="Google Shape;8497;p10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8" name="Google Shape;8498;p10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9" name="Google Shape;8499;p10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00" name="Google Shape;8500;p10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01" name="Google Shape;8501;p10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02" name="Google Shape;8502;p10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3" name="Google Shape;8503;p10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4" name="Google Shape;8504;p10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05" name="Google Shape;8505;p10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5">
    <p:spTree>
      <p:nvGrpSpPr>
        <p:cNvPr id="1" name="Shape 8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7" name="Google Shape;8507;p1038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08" name="Google Shape;8508;p1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509" name="Google Shape;8509;p1038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510" name="Google Shape;8510;p1038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11" name="Google Shape;8511;p103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512" name="Google Shape;8512;p1038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3" name="Google Shape;8513;p1038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4" name="Google Shape;8514;p1038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5" name="Google Shape;8515;p1038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3">
    <p:spTree>
      <p:nvGrpSpPr>
        <p:cNvPr id="1" name="Shape 8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7" name="Google Shape;8517;p10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8" name="Google Shape;8518;p10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9" name="Google Shape;8519;p10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20" name="Google Shape;8520;p10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21" name="Google Shape;8521;p10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22" name="Google Shape;8522;p10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3" name="Google Shape;8523;p10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4" name="Google Shape;8524;p10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25" name="Google Shape;8525;p10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8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7" name="Google Shape;8527;p1040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8" name="Google Shape;8528;p1040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8529" name="Google Shape;8529;p10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0" name="Google Shape;8530;p10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1" name="Google Shape;8531;p10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3" name="Google Shape;8533;p1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4" name="Google Shape;8534;p1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8535" name="Google Shape;8535;p1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536" name="Google Shape;8536;p1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7" name="Google Shape;8537;p1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8" name="Google Shape;8538;p1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8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0" name="Google Shape;8540;p10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41" name="Google Shape;8541;p10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2" name="Google Shape;8542;p10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3" name="Google Shape;8543;p10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4" name="Google Shape;8544;p10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p10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46" name="Google Shape;8546;p10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7" name="Google Shape;8547;p10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48" name="Google Shape;8548;p10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" name="Google Shape;8550;p10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1" name="Google Shape;8551;p10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52" name="Google Shape;8552;p10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3" name="Google Shape;8553;p10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4" name="Google Shape;8554;p1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5" name="Google Shape;8555;p1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56" name="Google Shape;8556;p10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7" name="Google Shape;8557;p1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p10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9" name="Google Shape;8559;p1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p1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61" name="Google Shape;8561;p10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8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3" name="Google Shape;8563;p1044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64" name="Google Shape;8564;p1044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5" name="Google Shape;8565;p104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p1044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7" name="Google Shape;8567;p104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8" name="Google Shape;8568;p104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69" name="Google Shape;8569;p1044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0" name="Google Shape;8570;p1044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71" name="Google Shape;8571;p10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8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3" name="Google Shape;8573;p10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74" name="Google Shape;8574;p10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5" name="Google Shape;8575;p10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76" name="Google Shape;8576;p10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p1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p1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79" name="Google Shape;8579;p10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80" name="Google Shape;8580;p1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81" name="Google Shape;8581;p10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82" name="Google Shape;8582;p1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3" name="Google Shape;8583;p1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84" name="Google Shape;8584;p10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2">
    <p:spTree>
      <p:nvGrpSpPr>
        <p:cNvPr id="1" name="Shape 8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6" name="Google Shape;8586;p1046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7" name="Google Shape;8587;p1046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88" name="Google Shape;8588;p104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9" name="Google Shape;8589;p1046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90" name="Google Shape;8590;p104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1" name="Google Shape;8591;p104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92" name="Google Shape;8592;p1046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3" name="Google Shape;8593;p104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94" name="Google Shape;8594;p1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8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6" name="Google Shape;8596;p10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7" name="Google Shape;8597;p10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8" name="Google Shape;8598;p10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599" name="Google Shape;8599;p10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00" name="Google Shape;8600;p10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01" name="Google Shape;8601;p10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2" name="Google Shape;8602;p10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3" name="Google Shape;8603;p10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8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05" name="Google Shape;8605;p10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06" name="Google Shape;8606;p10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7" name="Google Shape;8607;p10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8" name="Google Shape;8608;p10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9" name="Google Shape;8609;p1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10" name="Google Shape;8610;p10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1" name="Google Shape;8611;p10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8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3" name="Google Shape;8613;p10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14" name="Google Shape;8614;p10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15" name="Google Shape;8615;p10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16" name="Google Shape;8616;p10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17" name="Google Shape;8617;p10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18" name="Google Shape;8618;p10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19" name="Google Shape;8619;p10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8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1" name="Google Shape;8621;p10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2" name="Google Shape;8622;p10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3" name="Google Shape;8623;p10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4" name="Google Shape;8624;p10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5" name="Google Shape;8625;p10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6" name="Google Shape;8626;p10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27" name="Google Shape;8627;p10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8" name="Google Shape;8628;p10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29" name="Google Shape;8629;p10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30" name="Google Shape;8630;p10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1" name="Google Shape;8631;p10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2" name="Google Shape;8632;p10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3">
    <p:spTree>
      <p:nvGrpSpPr>
        <p:cNvPr id="1" name="Shape 8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4" name="Google Shape;8634;p105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35" name="Google Shape;8635;p105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6" name="Google Shape;8636;p105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37" name="Google Shape;8637;p105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8" name="Google Shape;8638;p105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9" name="Google Shape;8639;p105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40" name="Google Shape;8640;p105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1" name="Google Shape;8641;p105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642" name="Google Shape;8642;p10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2">
    <p:spTree>
      <p:nvGrpSpPr>
        <p:cNvPr id="1" name="Shape 8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4" name="Google Shape;8644;p10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45" name="Google Shape;8645;p10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46" name="Google Shape;8646;p10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47" name="Google Shape;8647;p10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48" name="Google Shape;8648;p10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49" name="Google Shape;8649;p10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0" name="Google Shape;8650;p10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1" name="Google Shape;8651;p10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2">
    <p:bg>
      <p:bgPr>
        <a:solidFill>
          <a:schemeClr val="lt2"/>
        </a:solidFill>
        <a:effectLst/>
      </p:bgPr>
    </p:bg>
    <p:spTree>
      <p:nvGrpSpPr>
        <p:cNvPr id="1" name="Shape 8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53" name="Google Shape;8653;p10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54" name="Google Shape;8654;p10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5" name="Google Shape;8655;p1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6" name="Google Shape;8656;p10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7" name="Google Shape;8657;p1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58" name="Google Shape;8658;p10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9" name="Google Shape;8659;p10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2">
    <p:spTree>
      <p:nvGrpSpPr>
        <p:cNvPr id="1" name="Shape 8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1" name="Google Shape;8661;p10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62" name="Google Shape;8662;p10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63" name="Google Shape;8663;p10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64" name="Google Shape;8664;p10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65" name="Google Shape;8665;p10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66" name="Google Shape;8666;p10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67" name="Google Shape;8667;p10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8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9" name="Google Shape;8669;p10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0" name="Google Shape;8670;p10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1" name="Google Shape;8671;p10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2" name="Google Shape;8672;p10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73" name="Google Shape;8673;p10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4" name="Google Shape;8674;p10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75" name="Google Shape;8675;p10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76" name="Google Shape;8676;p10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7" name="Google Shape;8677;p10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78" name="Google Shape;8678;p10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79" name="Google Shape;8679;p10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80" name="Google Shape;8680;p10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5">
    <p:spTree>
      <p:nvGrpSpPr>
        <p:cNvPr id="1" name="Shape 8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2" name="Google Shape;8682;p10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83" name="Google Shape;8683;p10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4" name="Google Shape;8684;p10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85" name="Google Shape;8685;p10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6" name="Google Shape;8686;p10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7" name="Google Shape;8687;p10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88" name="Google Shape;8688;p10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89" name="Google Shape;8689;p10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90" name="Google Shape;8690;p10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91" name="Google Shape;8691;p10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2" name="Google Shape;8692;p10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93" name="Google Shape;8693;p10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4">
    <p:spTree>
      <p:nvGrpSpPr>
        <p:cNvPr id="1" name="Shape 8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5" name="Google Shape;8695;p105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6" name="Google Shape;8696;p105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7" name="Google Shape;8697;p105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98" name="Google Shape;8698;p105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9" name="Google Shape;8699;p105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0" name="Google Shape;8700;p105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1" name="Google Shape;8701;p105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02" name="Google Shape;8702;p105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703" name="Google Shape;8703;p10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3">
    <p:spTree>
      <p:nvGrpSpPr>
        <p:cNvPr id="1" name="Shape 8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5" name="Google Shape;8705;p105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6" name="Google Shape;8706;p105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7" name="Google Shape;8707;p105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08" name="Google Shape;8708;p10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09" name="Google Shape;8709;p105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710" name="Google Shape;8710;p105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1" name="Google Shape;8711;p105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2" name="Google Shape;8712;p1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3">
    <p:bg>
      <p:bgPr>
        <a:solidFill>
          <a:schemeClr val="lt2"/>
        </a:solidFill>
        <a:effectLst/>
      </p:bgPr>
    </p:bg>
    <p:spTree>
      <p:nvGrpSpPr>
        <p:cNvPr id="1" name="Shape 8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4" name="Google Shape;8714;p10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715" name="Google Shape;8715;p10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6" name="Google Shape;8716;p10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7" name="Google Shape;8717;p10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8" name="Google Shape;8718;p10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19" name="Google Shape;8719;p10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0" name="Google Shape;8720;p10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3">
    <p:spTree>
      <p:nvGrpSpPr>
        <p:cNvPr id="1" name="Shape 8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2" name="Google Shape;8722;p106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23" name="Google Shape;8723;p106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24" name="Google Shape;8724;p106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5" name="Google Shape;8725;p106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6" name="Google Shape;8726;p106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7" name="Google Shape;8727;p106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28" name="Google Shape;8728;p10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8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0" name="Google Shape;8730;p10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1" name="Google Shape;8731;p10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32" name="Google Shape;8732;p10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33" name="Google Shape;8733;p10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4" name="Google Shape;8734;p10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35" name="Google Shape;8735;p10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36" name="Google Shape;8736;p10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37" name="Google Shape;8737;p10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8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9" name="Google Shape;8739;p10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0" name="Google Shape;8740;p10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p10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42" name="Google Shape;8742;p1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43" name="Google Shape;8743;p10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4" name="Google Shape;8744;p10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45" name="Google Shape;8745;p10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46" name="Google Shape;8746;p1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7" name="Google Shape;8747;p10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48" name="Google Shape;8748;p10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49" name="Google Shape;8749;p10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50" name="Google Shape;8750;p10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 2">
    <p:spTree>
      <p:nvGrpSpPr>
        <p:cNvPr id="1" name="Shape 8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2" name="Google Shape;8752;p10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3" name="Google Shape;8753;p10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4" name="Google Shape;8754;p10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55" name="Google Shape;8755;p10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56" name="Google Shape;8756;p1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7" name="Google Shape;8757;p10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8" name="Google Shape;8758;p10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59" name="Google Shape;8759;p10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2">
    <p:spTree>
      <p:nvGrpSpPr>
        <p:cNvPr id="1" name="Shape 8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1" name="Google Shape;8761;p10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2" name="Google Shape;8762;p10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3" name="Google Shape;8763;p10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4" name="Google Shape;8764;p10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5" name="Google Shape;8765;p10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6" name="Google Shape;8766;p10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67" name="Google Shape;8767;p10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68" name="Google Shape;8768;p10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69" name="Google Shape;8769;p10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0" name="Google Shape;8770;p10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1" name="Google Shape;8771;p10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2" name="Google Shape;8772;p10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8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4" name="Google Shape;8774;p10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5" name="Google Shape;8775;p10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76" name="Google Shape;8776;p10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77" name="Google Shape;8777;p10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8" name="Google Shape;8778;p10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9" name="Google Shape;8779;p10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0" name="Google Shape;8780;p10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1" name="Google Shape;8781;p10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2" name="Google Shape;8782;p10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3" name="Google Shape;8783;p10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4" name="Google Shape;8784;p10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8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86" name="Google Shape;8786;p10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87" name="Google Shape;8787;p1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88" name="Google Shape;8788;p10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89" name="Google Shape;8789;p1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0" name="Google Shape;8790;p1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1" name="Google Shape;8791;p10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2" name="Google Shape;8792;p10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3" name="Google Shape;8793;p10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4" name="Google Shape;8794;p10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5" name="Google Shape;8795;p10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p10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p1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p1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p10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01" name="Google Shape;8801;p1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p10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03" name="Google Shape;8803;p10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p10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p10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p10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7" name="Google Shape;8807;p10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08" name="Google Shape;8808;p10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8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0" name="Google Shape;8810;p10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11" name="Google Shape;8811;p10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2" name="Google Shape;8812;p10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3" name="Google Shape;8813;p10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14" name="Google Shape;8814;p10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5" name="Google Shape;8815;p10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16" name="Google Shape;8816;p1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17" name="Google Shape;8817;p10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8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19" name="Google Shape;8819;p10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0" name="Google Shape;8820;p10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1" name="Google Shape;8821;p10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22" name="Google Shape;8822;p10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23" name="Google Shape;8823;p1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24" name="Google Shape;8824;p10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25" name="Google Shape;8825;p10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26" name="Google Shape;8826;p10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2">
    <p:spTree>
      <p:nvGrpSpPr>
        <p:cNvPr id="1" name="Shape 8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8" name="Google Shape;8828;p10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9" name="Google Shape;8829;p10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30" name="Google Shape;8830;p10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31" name="Google Shape;8831;p10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2" name="Google Shape;8832;p10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3" name="Google Shape;8833;p10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34" name="Google Shape;8834;p10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35" name="Google Shape;8835;p10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6" name="Google Shape;8836;p10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37" name="Google Shape;8837;p10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38" name="Google Shape;8838;p10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39" name="Google Shape;8839;p10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8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1" name="Google Shape;8841;p107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2" name="Google Shape;8842;p107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843" name="Google Shape;8843;p107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8844" name="Google Shape;8844;p107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5" name="Google Shape;8845;p107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846" name="Google Shape;8846;p10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8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8" name="Google Shape;8848;p10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9" name="Google Shape;8849;p10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0" name="Google Shape;8850;p10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51" name="Google Shape;8851;p10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52" name="Google Shape;8852;p10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853" name="Google Shape;8853;p10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p10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p10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8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7" name="Google Shape;8857;p10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858" name="Google Shape;8858;p10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9" name="Google Shape;8859;p10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0" name="Google Shape;8860;p10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61" name="Google Shape;8861;p10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62" name="Google Shape;8862;p10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3" name="Google Shape;8863;p10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8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5" name="Google Shape;8865;p10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66" name="Google Shape;8866;p107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67" name="Google Shape;8867;p10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868" name="Google Shape;8868;p10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9" name="Google Shape;8869;p10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0" name="Google Shape;8870;p10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71" name="Google Shape;8871;p10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8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3" name="Google Shape;8873;p10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74" name="Google Shape;8874;p10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5" name="Google Shape;8875;p10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6" name="Google Shape;8876;p10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77" name="Google Shape;8877;p10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78" name="Google Shape;8878;p10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79" name="Google Shape;8879;p10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80" name="Google Shape;8880;p10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1" name="Google Shape;8881;p10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2" name="Google Shape;8882;p10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3" name="Google Shape;8883;p10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4" name="Google Shape;8884;p10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8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6" name="Google Shape;8886;p10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7" name="Google Shape;8887;p10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8" name="Google Shape;8888;p1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89" name="Google Shape;8889;p10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0" name="Google Shape;8890;p1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1" name="Google Shape;8891;p1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92" name="Google Shape;8892;p10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93" name="Google Shape;8893;p1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4" name="Google Shape;8894;p10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95" name="Google Shape;8895;p1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6" name="Google Shape;8896;p1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97" name="Google Shape;8897;p10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8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9" name="Google Shape;8899;p10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00" name="Google Shape;8900;p10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01" name="Google Shape;8901;p10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02" name="Google Shape;8902;p10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03" name="Google Shape;8903;p10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4" name="Google Shape;8904;p10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5" name="Google Shape;8905;p10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6" name="Google Shape;8906;p10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7" name="Google Shape;8907;p10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8" name="Google Shape;8908;p10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8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0" name="Google Shape;8910;p10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11" name="Google Shape;8911;p10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12" name="Google Shape;8912;p10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13" name="Google Shape;8913;p1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14" name="Google Shape;8914;p10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15" name="Google Shape;8915;p1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16" name="Google Shape;8916;p1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17" name="Google Shape;8917;p10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8" name="Google Shape;8918;p10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19" name="Google Shape;8919;p1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0" name="Google Shape;8920;p1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8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22" name="Google Shape;8922;p10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23" name="Google Shape;8923;p10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24" name="Google Shape;8924;p10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25" name="Google Shape;8925;p10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26" name="Google Shape;8926;p10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27" name="Google Shape;8927;p10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8" name="Google Shape;8928;p10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29" name="Google Shape;8929;p10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0" name="Google Shape;8930;p10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31" name="Google Shape;8931;p10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2" name="Google Shape;8932;p10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33" name="Google Shape;8933;p10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4" name="Google Shape;8934;p10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8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6" name="Google Shape;8936;p10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37" name="Google Shape;8937;p10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8" name="Google Shape;8938;p10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39" name="Google Shape;8939;p10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40" name="Google Shape;8940;p10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1" name="Google Shape;8941;p10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2" name="Google Shape;8942;p10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3" name="Google Shape;8943;p10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4" name="Google Shape;8944;p10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8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46" name="Google Shape;8946;p10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47" name="Google Shape;8947;p10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48" name="Google Shape;8948;p10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49" name="Google Shape;8949;p108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50" name="Google Shape;8950;p10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51" name="Google Shape;8951;p10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52" name="Google Shape;8952;p10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53" name="Google Shape;8953;p10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8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5" name="Google Shape;8955;p10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56" name="Google Shape;8956;p1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7" name="Google Shape;8957;p1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58" name="Google Shape;8958;p10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59" name="Google Shape;8959;p1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60" name="Google Shape;8960;p10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61" name="Google Shape;8961;p1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62" name="Google Shape;8962;p1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3">
    <p:spTree>
      <p:nvGrpSpPr>
        <p:cNvPr id="1" name="Shape 8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4" name="Google Shape;8964;p10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5" name="Google Shape;8965;p10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6" name="Google Shape;8966;p10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7" name="Google Shape;8967;p10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8" name="Google Shape;8968;p10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9" name="Google Shape;8969;p10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70" name="Google Shape;8970;p10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1" name="Google Shape;8971;p1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2" name="Google Shape;8972;p10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73" name="Google Shape;8973;p10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4" name="Google Shape;8974;p10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5" name="Google Shape;8975;p10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2">
    <p:spTree>
      <p:nvGrpSpPr>
        <p:cNvPr id="1" name="Shape 8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7" name="Google Shape;8977;p10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78" name="Google Shape;8978;p10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79" name="Google Shape;8979;p10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80" name="Google Shape;8980;p10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1" name="Google Shape;8981;p10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2" name="Google Shape;8982;p10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83" name="Google Shape;8983;p10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4" name="Google Shape;8984;p10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5" name="Google Shape;8985;p10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6" name="Google Shape;8986;p10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7" name="Google Shape;8987;p10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2">
    <p:spTree>
      <p:nvGrpSpPr>
        <p:cNvPr id="1" name="Shape 8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89" name="Google Shape;8989;p10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90" name="Google Shape;8990;p1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1" name="Google Shape;8991;p10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2" name="Google Shape;8992;p10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3" name="Google Shape;8993;p10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4" name="Google Shape;8994;p10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95" name="Google Shape;8995;p10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6" name="Google Shape;8996;p10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7" name="Google Shape;8997;p10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8" name="Google Shape;8998;p10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9" name="Google Shape;8999;p10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0" name="Google Shape;9000;p10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01" name="Google Shape;9001;p10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2">
    <p:spTree>
      <p:nvGrpSpPr>
        <p:cNvPr id="1" name="Shape 9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03" name="Google Shape;9003;p10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04" name="Google Shape;9004;p10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5" name="Google Shape;9005;p10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06" name="Google Shape;9006;p10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7" name="Google Shape;9007;p10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8" name="Google Shape;9008;p10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9" name="Google Shape;9009;p10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10" name="Google Shape;9010;p10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1" name="Google Shape;9011;p10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2">
    <p:spTree>
      <p:nvGrpSpPr>
        <p:cNvPr id="1" name="Shape 9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3" name="Google Shape;9013;p10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14" name="Google Shape;9014;p10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5" name="Google Shape;9015;p10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6" name="Google Shape;9016;p10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17" name="Google Shape;9017;p10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8" name="Google Shape;9018;p10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19" name="Google Shape;9019;p10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20" name="Google Shape;9020;p10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2">
    <p:spTree>
      <p:nvGrpSpPr>
        <p:cNvPr id="1" name="Shape 9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2" name="Google Shape;9022;p10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3" name="Google Shape;9023;p10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4" name="Google Shape;9024;p10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25" name="Google Shape;9025;p10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26" name="Google Shape;9026;p10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7" name="Google Shape;9027;p10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28" name="Google Shape;9028;p10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29" name="Google Shape;9029;p10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3">
    <p:spTree>
      <p:nvGrpSpPr>
        <p:cNvPr id="1" name="Shape 9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" name="Google Shape;9031;p10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2" name="Google Shape;9032;p10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33" name="Google Shape;9033;p10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4" name="Google Shape;9034;p10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35" name="Google Shape;9035;p1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6" name="Google Shape;9036;p1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37" name="Google Shape;9037;p10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8" name="Google Shape;9038;p1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39" name="Google Shape;9039;p10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0" name="Google Shape;9040;p1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1" name="Google Shape;9041;p1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42" name="Google Shape;9042;p10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2">
    <p:spTree>
      <p:nvGrpSpPr>
        <p:cNvPr id="1" name="Shape 9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4" name="Google Shape;9044;p10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5" name="Google Shape;9045;p10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46" name="Google Shape;9046;p10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47" name="Google Shape;9047;p10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048" name="Google Shape;9048;p10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049" name="Google Shape;9049;p10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0" name="Google Shape;9050;p10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1" name="Google Shape;9051;p10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2">
    <p:bg>
      <p:bgPr>
        <a:solidFill>
          <a:schemeClr val="lt2"/>
        </a:solidFill>
        <a:effectLst/>
      </p:bgPr>
    </p:bg>
    <p:spTree>
      <p:nvGrpSpPr>
        <p:cNvPr id="1" name="Shape 9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3" name="Google Shape;9053;p10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054" name="Google Shape;9054;p10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5" name="Google Shape;9055;p10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6" name="Google Shape;9056;p10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7" name="Google Shape;9057;p1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058" name="Google Shape;9058;p10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9" name="Google Shape;9059;p10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2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p109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p10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p109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64" name="Google Shape;9064;p10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p10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p10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p10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2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p10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p10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p10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p10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p10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p10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p10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76" name="Google Shape;9076;p10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p10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78" name="Google Shape;9078;p10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p10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p10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2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2" name="Google Shape;9082;p10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83" name="Google Shape;9083;p10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4" name="Google Shape;9084;p10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5" name="Google Shape;9085;p10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86" name="Google Shape;9086;p10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87" name="Google Shape;9087;p10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88" name="Google Shape;9088;p10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89" name="Google Shape;9089;p1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0" name="Google Shape;9090;p10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1" name="Google Shape;9091;p10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2" name="Google Shape;9092;p10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93" name="Google Shape;9093;p10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2">
    <p:spTree>
      <p:nvGrpSpPr>
        <p:cNvPr id="1" name="Shape 9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95" name="Google Shape;9095;p10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6" name="Google Shape;9096;p1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p10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8" name="Google Shape;9098;p1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p1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p1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1" name="Google Shape;9101;p10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2" name="Google Shape;9102;p1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3" name="Google Shape;9103;p1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4" name="Google Shape;9104;p1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2">
    <p:spTree>
      <p:nvGrpSpPr>
        <p:cNvPr id="1" name="Shape 9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6" name="Google Shape;9106;p10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7" name="Google Shape;9107;p10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08" name="Google Shape;9108;p10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09" name="Google Shape;9109;p10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10" name="Google Shape;9110;p10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1" name="Google Shape;9111;p10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2" name="Google Shape;9112;p10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3" name="Google Shape;9113;p10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4" name="Google Shape;9114;p10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5" name="Google Shape;9115;p10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6" name="Google Shape;9116;p10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2">
    <p:spTree>
      <p:nvGrpSpPr>
        <p:cNvPr id="1" name="Shape 9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8" name="Google Shape;9118;p10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19" name="Google Shape;9119;p10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0" name="Google Shape;9120;p10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21" name="Google Shape;9121;p10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2" name="Google Shape;9122;p10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3" name="Google Shape;9123;p10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4" name="Google Shape;9124;p10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5" name="Google Shape;9125;p10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6" name="Google Shape;9126;p10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7" name="Google Shape;9127;p10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8" name="Google Shape;9128;p10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9" name="Google Shape;9129;p10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30" name="Google Shape;9130;p10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oogle Shape;90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" name="Google Shape;9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" name="Google Shape;92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" name="Google Shape;93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" name="Google Shape;95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" name="Google Shape;98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" name="Google Shape;99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2">
    <p:spTree>
      <p:nvGrpSpPr>
        <p:cNvPr id="1" name="Shape 9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32" name="Google Shape;9132;p10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33" name="Google Shape;9133;p10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34" name="Google Shape;9134;p10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35" name="Google Shape;9135;p10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36" name="Google Shape;9136;p10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37" name="Google Shape;9137;p10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8" name="Google Shape;9138;p10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p10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p10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2">
    <p:spTree>
      <p:nvGrpSpPr>
        <p:cNvPr id="1" name="Shape 9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42" name="Google Shape;9142;p10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43" name="Google Shape;9143;p10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44" name="Google Shape;9144;p10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5" name="Google Shape;9145;p10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6" name="Google Shape;9146;p10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47" name="Google Shape;9147;p10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48" name="Google Shape;9148;p10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49" name="Google Shape;9149;p10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2">
    <p:spTree>
      <p:nvGrpSpPr>
        <p:cNvPr id="1" name="Shape 9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1" name="Google Shape;9151;p1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2" name="Google Shape;9152;p1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3" name="Google Shape;9153;p1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54" name="Google Shape;9154;p1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55" name="Google Shape;9155;p1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6" name="Google Shape;9156;p1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57" name="Google Shape;9157;p1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8" name="Google Shape;9158;p1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4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p1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p1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p1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63" name="Google Shape;9163;p1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4" name="Google Shape;9164;p1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65" name="Google Shape;9165;p1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66" name="Google Shape;9166;p1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67" name="Google Shape;9167;p1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68" name="Google Shape;9168;p1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69" name="Google Shape;9169;p1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0" name="Google Shape;9170;p1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71" name="Google Shape;9171;p1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3">
    <p:spTree>
      <p:nvGrpSpPr>
        <p:cNvPr id="1" name="Shape 9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3" name="Google Shape;9173;p1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4" name="Google Shape;9174;p1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75" name="Google Shape;9175;p1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76" name="Google Shape;9176;p1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77" name="Google Shape;9177;p1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78" name="Google Shape;9178;p1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9" name="Google Shape;9179;p1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80" name="Google Shape;9180;p1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1" name="Google Shape;9181;p1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82" name="Google Shape;9182;p1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83" name="Google Shape;9183;p1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3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p1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86" name="Google Shape;9186;p1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p1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88" name="Google Shape;9188;p1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p1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p1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p1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2" name="Google Shape;9192;p1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3" name="Google Shape;9193;p1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4" name="Google Shape;9194;p1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5" name="Google Shape;9195;p1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6" name="Google Shape;9196;p1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7" name="Google Shape;9197;p1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3">
    <p:spTree>
      <p:nvGrpSpPr>
        <p:cNvPr id="1" name="Shape 9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99" name="Google Shape;9199;p1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00" name="Google Shape;9200;p1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1" name="Google Shape;9201;p1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02" name="Google Shape;9202;p1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3" name="Google Shape;9203;p1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4" name="Google Shape;9204;p1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05" name="Google Shape;9205;p1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6" name="Google Shape;9206;p1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7" name="Google Shape;9207;p1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3">
    <p:spTree>
      <p:nvGrpSpPr>
        <p:cNvPr id="1" name="Shape 9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9" name="Google Shape;9209;p1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10" name="Google Shape;9210;p1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11" name="Google Shape;9211;p1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12" name="Google Shape;9212;p1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3" name="Google Shape;9213;p1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4" name="Google Shape;9214;p1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15" name="Google Shape;9215;p1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16" name="Google Shape;9216;p1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3">
    <p:spTree>
      <p:nvGrpSpPr>
        <p:cNvPr id="1" name="Shape 9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9218;p1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p1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p1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21" name="Google Shape;9221;p1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2" name="Google Shape;9222;p1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3" name="Google Shape;9223;p1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24" name="Google Shape;9224;p1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5" name="Google Shape;9225;p1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4">
    <p:spTree>
      <p:nvGrpSpPr>
        <p:cNvPr id="1" name="Shape 9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7" name="Google Shape;9227;p13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8" name="Google Shape;9228;p13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9" name="Google Shape;9229;p13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0" name="Google Shape;9230;p13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1" name="Google Shape;9231;p1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2" name="Google Shape;9232;p1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33" name="Google Shape;9233;p13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34" name="Google Shape;9234;p1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5" name="Google Shape;9235;p13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6" name="Google Shape;9236;p1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7" name="Google Shape;9237;p1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38" name="Google Shape;9238;p13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3">
    <p:spTree>
      <p:nvGrpSpPr>
        <p:cNvPr id="1" name="Shape 9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0" name="Google Shape;9240;p110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41" name="Google Shape;9241;p110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2" name="Google Shape;9242;p110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43" name="Google Shape;9243;p1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44" name="Google Shape;9244;p110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245" name="Google Shape;9245;p1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46" name="Google Shape;9246;p1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47" name="Google Shape;9247;p1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3">
    <p:bg>
      <p:bgPr>
        <a:solidFill>
          <a:schemeClr val="lt2"/>
        </a:solidFill>
        <a:effectLst/>
      </p:bgPr>
    </p:bg>
    <p:spTree>
      <p:nvGrpSpPr>
        <p:cNvPr id="1" name="Shape 9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49" name="Google Shape;9249;p1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250" name="Google Shape;9250;p1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1" name="Google Shape;9251;p1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2" name="Google Shape;9252;p1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3" name="Google Shape;9253;p1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54" name="Google Shape;9254;p1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5" name="Google Shape;9255;p1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3">
    <p:spTree>
      <p:nvGrpSpPr>
        <p:cNvPr id="1" name="Shape 9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7" name="Google Shape;9257;p1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58" name="Google Shape;9258;p1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59" name="Google Shape;9259;p1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260" name="Google Shape;9260;p1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p1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62" name="Google Shape;9262;p1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263" name="Google Shape;9263;p1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3">
    <p:spTree>
      <p:nvGrpSpPr>
        <p:cNvPr id="1" name="Shape 9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5" name="Google Shape;9265;p11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6" name="Google Shape;9266;p11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7" name="Google Shape;9267;p1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8" name="Google Shape;9268;p1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9" name="Google Shape;9269;p1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0" name="Google Shape;9270;p1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71" name="Google Shape;9271;p1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72" name="Google Shape;9272;p1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3" name="Google Shape;9273;p1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74" name="Google Shape;9274;p1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5" name="Google Shape;9275;p1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6" name="Google Shape;9276;p1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3">
    <p:spTree>
      <p:nvGrpSpPr>
        <p:cNvPr id="1" name="Shape 9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p1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9" name="Google Shape;9279;p1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80" name="Google Shape;9280;p1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81" name="Google Shape;9281;p1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82" name="Google Shape;9282;p1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83" name="Google Shape;9283;p1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84" name="Google Shape;9284;p1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85" name="Google Shape;9285;p1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86" name="Google Shape;9286;p1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7" name="Google Shape;9287;p1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88" name="Google Shape;9288;p1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9" name="Google Shape;9289;p11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3">
    <p:spTree>
      <p:nvGrpSpPr>
        <p:cNvPr id="1" name="Shape 9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91" name="Google Shape;9291;p1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92" name="Google Shape;9292;p1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3" name="Google Shape;9293;p1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94" name="Google Shape;9294;p1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5" name="Google Shape;9295;p1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96" name="Google Shape;9296;p1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7" name="Google Shape;9297;p1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8" name="Google Shape;9298;p1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9" name="Google Shape;9299;p1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0" name="Google Shape;9300;p1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3">
    <p:spTree>
      <p:nvGrpSpPr>
        <p:cNvPr id="1" name="Shape 9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2" name="Google Shape;9302;p13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3" name="Google Shape;9303;p13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4" name="Google Shape;9304;p1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05" name="Google Shape;9305;p1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6" name="Google Shape;9306;p1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07" name="Google Shape;9307;p1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8" name="Google Shape;9308;p1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9" name="Google Shape;9309;p13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10" name="Google Shape;9310;p13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11" name="Google Shape;9311;p1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2" name="Google Shape;9312;p1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3">
    <p:spTree>
      <p:nvGrpSpPr>
        <p:cNvPr id="1" name="Shape 9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14" name="Google Shape;9314;p1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5" name="Google Shape;9315;p1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p1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17" name="Google Shape;9317;p1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p1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p1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20" name="Google Shape;9320;p11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1" name="Google Shape;9321;p11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2" name="Google Shape;9322;p1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3" name="Google Shape;9323;p1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4" name="Google Shape;9324;p1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5" name="Google Shape;9325;p1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6" name="Google Shape;9326;p1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3">
    <p:spTree>
      <p:nvGrpSpPr>
        <p:cNvPr id="1" name="Shape 9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8" name="Google Shape;9328;p1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29" name="Google Shape;9329;p1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30" name="Google Shape;9330;p1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1" name="Google Shape;9331;p1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32" name="Google Shape;9332;p1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33" name="Google Shape;9333;p11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4" name="Google Shape;9334;p1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p1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p1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3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p1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39" name="Google Shape;9339;p1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40" name="Google Shape;9340;p1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41" name="Google Shape;9341;p1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2" name="Google Shape;9342;p1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3" name="Google Shape;9343;p1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44" name="Google Shape;9344;p1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45" name="Google Shape;9345;p1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3">
    <p:spTree>
      <p:nvGrpSpPr>
        <p:cNvPr id="1" name="Shape 9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7" name="Google Shape;9347;p1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8" name="Google Shape;9348;p1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9" name="Google Shape;9349;p1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50" name="Google Shape;9350;p1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1" name="Google Shape;9351;p1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52" name="Google Shape;9352;p1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53" name="Google Shape;9353;p1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4" name="Google Shape;9354;p1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2">
    <p:bg>
      <p:bgPr>
        <a:solidFill>
          <a:schemeClr val="lt1"/>
        </a:solidFill>
        <a:effectLst/>
      </p:bgPr>
    </p:bg>
    <p:spTree>
      <p:nvGrpSpPr>
        <p:cNvPr id="1" name="Shape 9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6" name="Google Shape;9356;p11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7" name="Google Shape;9357;p1119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58" name="Google Shape;9358;p1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59" name="Google Shape;9359;p11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60" name="Google Shape;9360;p1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61" name="Google Shape;9361;p111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2" name="Google Shape;9362;p111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63" name="Google Shape;9363;p111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4" name="Google Shape;9364;p1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365" name="Google Shape;9365;p1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66" name="Google Shape;9366;p1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2">
    <p:spTree>
      <p:nvGrpSpPr>
        <p:cNvPr id="1" name="Shape 9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8" name="Google Shape;9368;p1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9" name="Google Shape;9369;p1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0" name="Google Shape;9370;p1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1" name="Google Shape;9371;p1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2" name="Google Shape;9372;p1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3" name="Google Shape;9373;p1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74" name="Google Shape;9374;p1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75" name="Google Shape;9375;p1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6" name="Google Shape;9376;p1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7" name="Google Shape;9377;p1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8" name="Google Shape;9378;p1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79" name="Google Shape;9379;p1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3">
    <p:spTree>
      <p:nvGrpSpPr>
        <p:cNvPr id="1" name="Shape 9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1" name="Google Shape;9381;p11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2" name="Google Shape;9382;p11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83" name="Google Shape;9383;p11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4" name="Google Shape;9384;p1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5" name="Google Shape;9385;p1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6" name="Google Shape;9386;p1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87" name="Google Shape;9387;p1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88" name="Google Shape;9388;p1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9" name="Google Shape;9389;p1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90" name="Google Shape;9390;p1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1" name="Google Shape;9391;p1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2" name="Google Shape;9392;p11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3">
    <p:bg>
      <p:bgPr>
        <a:solidFill>
          <a:schemeClr val="lt1"/>
        </a:solidFill>
        <a:effectLst/>
      </p:bgPr>
    </p:bg>
    <p:spTree>
      <p:nvGrpSpPr>
        <p:cNvPr id="1" name="Shape 9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4" name="Google Shape;9394;p112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95" name="Google Shape;9395;p112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6" name="Google Shape;9396;p1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7" name="Google Shape;9397;p112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8" name="Google Shape;9398;p11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99" name="Google Shape;9399;p112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0" name="Google Shape;9400;p112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1" name="Google Shape;9401;p112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2" name="Google Shape;9402;p1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p11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04" name="Google Shape;9404;p1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4">
    <p:spTree>
      <p:nvGrpSpPr>
        <p:cNvPr id="1" name="Shape 9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6" name="Google Shape;9406;p1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7" name="Google Shape;9407;p1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8" name="Google Shape;9408;p1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9" name="Google Shape;9409;p1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10" name="Google Shape;9410;p1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1" name="Google Shape;9411;p1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12" name="Google Shape;9412;p1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3" name="Google Shape;9413;p1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14" name="Google Shape;9414;p1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5" name="Google Shape;9415;p1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16" name="Google Shape;9416;p1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17" name="Google Shape;9417;p11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5">
    <p:spTree>
      <p:nvGrpSpPr>
        <p:cNvPr id="1" name="Shape 9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9" name="Google Shape;9419;p11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0" name="Google Shape;9420;p11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1" name="Google Shape;9421;p11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2" name="Google Shape;9422;p1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23" name="Google Shape;9423;p1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24" name="Google Shape;9424;p1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25" name="Google Shape;9425;p1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6" name="Google Shape;9426;p1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7" name="Google Shape;9427;p1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28" name="Google Shape;9428;p1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9" name="Google Shape;9429;p1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0" name="Google Shape;9430;p11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6">
    <p:spTree>
      <p:nvGrpSpPr>
        <p:cNvPr id="1" name="Shape 9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2" name="Google Shape;9432;p1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33" name="Google Shape;9433;p1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4" name="Google Shape;9434;p1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35" name="Google Shape;9435;p1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6" name="Google Shape;9436;p1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7" name="Google Shape;9437;p1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38" name="Google Shape;9438;p1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9" name="Google Shape;9439;p1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0" name="Google Shape;9440;p1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41" name="Google Shape;9441;p1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2" name="Google Shape;9442;p1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43" name="Google Shape;9443;p11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9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2" name="Google Shape;9452;p18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3" name="Google Shape;9453;p18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9454" name="Google Shape;9454;p1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5" name="Google Shape;9455;p187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6" name="Google Shape;9456;p187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8" name="Google Shape;9458;p18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9" name="Google Shape;9459;p186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0" name="Google Shape;9460;p186"/>
          <p:cNvSpPr txBox="1">
            <a:spLocks noGrp="1"/>
          </p:cNvSpPr>
          <p:nvPr>
            <p:ph type="sldNum" idx="12"/>
          </p:nvPr>
        </p:nvSpPr>
        <p:spPr>
          <a:xfrm>
            <a:off x="11311128" y="6272786"/>
            <a:ext cx="6400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21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21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2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21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2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21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2" name="Google Shape;9462;p188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3" name="Google Shape;9463;p188"/>
          <p:cNvSpPr txBox="1">
            <a:spLocks noGrp="1"/>
          </p:cNvSpPr>
          <p:nvPr>
            <p:ph type="body" idx="1"/>
          </p:nvPr>
        </p:nvSpPr>
        <p:spPr>
          <a:xfrm>
            <a:off x="457200" y="1143000"/>
            <a:ext cx="1133856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64" name="Google Shape;9464;p1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5" name="Google Shape;9465;p188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6" name="Google Shape;9466;p188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8" name="Google Shape;9468;p1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9" name="Google Shape;9469;p189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70" name="Google Shape;9470;p189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1">
  <p:cSld name="Layout 1">
    <p:spTree>
      <p:nvGrpSpPr>
        <p:cNvPr id="1" name="Shape 9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2" name="Google Shape;9472;p176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73" name="Google Shape;9473;p176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4" name="Google Shape;9474;p176"/>
          <p:cNvSpPr txBox="1">
            <a:spLocks noGrp="1"/>
          </p:cNvSpPr>
          <p:nvPr>
            <p:ph type="body" idx="1"/>
          </p:nvPr>
        </p:nvSpPr>
        <p:spPr>
          <a:xfrm>
            <a:off x="463296" y="1143001"/>
            <a:ext cx="11332464" cy="46360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5" name="Google Shape;9475;p176"/>
          <p:cNvSpPr txBox="1">
            <a:spLocks noGrp="1"/>
          </p:cNvSpPr>
          <p:nvPr>
            <p:ph type="body" idx="2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9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7" name="Google Shape;9477;p175"/>
          <p:cNvSpPr/>
          <p:nvPr/>
        </p:nvSpPr>
        <p:spPr>
          <a:xfrm>
            <a:off x="1" y="2140948"/>
            <a:ext cx="12192000" cy="4717052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78" name="Google Shape;9478;p175"/>
          <p:cNvSpPr txBox="1">
            <a:spLocks noGrp="1"/>
          </p:cNvSpPr>
          <p:nvPr>
            <p:ph type="body" idx="1"/>
          </p:nvPr>
        </p:nvSpPr>
        <p:spPr>
          <a:xfrm>
            <a:off x="486165" y="2440303"/>
            <a:ext cx="11248635" cy="255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75" tIns="274300" rIns="457200" bIns="2743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5400"/>
              <a:buNone/>
              <a:defRPr sz="5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9" name="Google Shape;9479;p175"/>
          <p:cNvSpPr txBox="1">
            <a:spLocks noGrp="1"/>
          </p:cNvSpPr>
          <p:nvPr>
            <p:ph type="body" idx="2"/>
          </p:nvPr>
        </p:nvSpPr>
        <p:spPr>
          <a:xfrm>
            <a:off x="486165" y="5057134"/>
            <a:ext cx="11248633" cy="1358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75" tIns="274300" rIns="457200" bIns="2743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80" name="Google Shape;9480;p175"/>
          <p:cNvCxnSpPr/>
          <p:nvPr/>
        </p:nvCxnSpPr>
        <p:spPr>
          <a:xfrm>
            <a:off x="701749" y="5024462"/>
            <a:ext cx="1078849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81" name="Google Shape;9481;p175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2" name="Google Shape;9482;p175"/>
          <p:cNvSpPr/>
          <p:nvPr/>
        </p:nvSpPr>
        <p:spPr>
          <a:xfrm>
            <a:off x="486165" y="2440305"/>
            <a:ext cx="11248633" cy="3974851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483" name="Google Shape;9483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9483" y="501437"/>
            <a:ext cx="4291584" cy="1101626"/>
          </a:xfrm>
          <a:prstGeom prst="rect">
            <a:avLst/>
          </a:prstGeom>
          <a:noFill/>
          <a:ln>
            <a:noFill/>
          </a:ln>
        </p:spPr>
      </p:pic>
      <p:sp>
        <p:nvSpPr>
          <p:cNvPr id="9484" name="Google Shape;9484;p175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1 Column Slide">
  <p:cSld name="1_1 Column Slide">
    <p:spTree>
      <p:nvGrpSpPr>
        <p:cNvPr id="1" name="Shape 9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6" name="Google Shape;9486;p177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87" name="Google Shape;9487;p177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8" name="Google Shape;9488;p177"/>
          <p:cNvSpPr txBox="1">
            <a:spLocks noGrp="1"/>
          </p:cNvSpPr>
          <p:nvPr>
            <p:ph type="body" idx="1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9" name="Google Shape;9489;p177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90" name="Google Shape;9490;p177"/>
          <p:cNvSpPr txBox="1">
            <a:spLocks noGrp="1"/>
          </p:cNvSpPr>
          <p:nvPr>
            <p:ph type="body" idx="2"/>
          </p:nvPr>
        </p:nvSpPr>
        <p:spPr>
          <a:xfrm>
            <a:off x="463296" y="1143001"/>
            <a:ext cx="11332464" cy="46360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1" name="Google Shape;9491;p177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Slide">
  <p:cSld name="2 Column Slide">
    <p:spTree>
      <p:nvGrpSpPr>
        <p:cNvPr id="1" name="Shape 9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3" name="Google Shape;9493;p178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4" name="Google Shape;9494;p178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95" name="Google Shape;9495;p178"/>
          <p:cNvSpPr txBox="1">
            <a:spLocks noGrp="1"/>
          </p:cNvSpPr>
          <p:nvPr>
            <p:ph type="body" idx="1"/>
          </p:nvPr>
        </p:nvSpPr>
        <p:spPr>
          <a:xfrm>
            <a:off x="6324601" y="1356467"/>
            <a:ext cx="5403985" cy="4422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6" name="Google Shape;9496;p178"/>
          <p:cNvSpPr txBox="1">
            <a:spLocks noGrp="1"/>
          </p:cNvSpPr>
          <p:nvPr>
            <p:ph type="body" idx="2"/>
          </p:nvPr>
        </p:nvSpPr>
        <p:spPr>
          <a:xfrm>
            <a:off x="463297" y="1356467"/>
            <a:ext cx="5404104" cy="4422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7" name="Google Shape;9497;p178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 Slide">
  <p:cSld name="3 Column Slide">
    <p:spTree>
      <p:nvGrpSpPr>
        <p:cNvPr id="1" name="Shape 9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9" name="Google Shape;9499;p179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00" name="Google Shape;9500;p179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01" name="Google Shape;9501;p179"/>
          <p:cNvSpPr txBox="1">
            <a:spLocks noGrp="1"/>
          </p:cNvSpPr>
          <p:nvPr>
            <p:ph type="body" idx="1"/>
          </p:nvPr>
        </p:nvSpPr>
        <p:spPr>
          <a:xfrm>
            <a:off x="4345246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2" name="Google Shape;9502;p179"/>
          <p:cNvSpPr txBox="1">
            <a:spLocks noGrp="1"/>
          </p:cNvSpPr>
          <p:nvPr>
            <p:ph type="body" idx="2"/>
          </p:nvPr>
        </p:nvSpPr>
        <p:spPr>
          <a:xfrm>
            <a:off x="469394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3" name="Google Shape;9503;p179"/>
          <p:cNvSpPr txBox="1">
            <a:spLocks noGrp="1"/>
          </p:cNvSpPr>
          <p:nvPr>
            <p:ph type="body" idx="3"/>
          </p:nvPr>
        </p:nvSpPr>
        <p:spPr>
          <a:xfrm>
            <a:off x="8221098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4" name="Google Shape;9504;p179"/>
          <p:cNvSpPr txBox="1">
            <a:spLocks noGrp="1"/>
          </p:cNvSpPr>
          <p:nvPr>
            <p:ph type="body" idx="4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ajor Section Divider_Digital">
  <p:cSld name="Major Section Divider_Digital">
    <p:spTree>
      <p:nvGrpSpPr>
        <p:cNvPr id="1" name="Shape 9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6" name="Google Shape;9506;p180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507" name="Google Shape;9507;p1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32064" y="3235981"/>
            <a:ext cx="3755136" cy="386038"/>
          </a:xfrm>
          <a:prstGeom prst="rect">
            <a:avLst/>
          </a:prstGeom>
          <a:noFill/>
          <a:ln>
            <a:noFill/>
          </a:ln>
        </p:spPr>
      </p:pic>
      <p:sp>
        <p:nvSpPr>
          <p:cNvPr id="9508" name="Google Shape;9508;p180"/>
          <p:cNvSpPr txBox="1">
            <a:spLocks noGrp="1"/>
          </p:cNvSpPr>
          <p:nvPr>
            <p:ph type="body" idx="1"/>
          </p:nvPr>
        </p:nvSpPr>
        <p:spPr>
          <a:xfrm>
            <a:off x="508000" y="2781300"/>
            <a:ext cx="7518400" cy="1295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4pPr>
            <a:lvl5pPr marL="2286000" lvl="4" indent="-3175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400"/>
              <a:buChar char="»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509" name="Google Shape;9509;p1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50517" y="3240117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510" name="Google Shape;9510;p180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 Section Divider_Digital">
  <p:cSld name="Sub Section Divider_Digital">
    <p:spTree>
      <p:nvGrpSpPr>
        <p:cNvPr id="1" name="Shape 9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2" name="Google Shape;9512;p181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513" name="Google Shape;9513;p1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32064" y="3235981"/>
            <a:ext cx="3755136" cy="386038"/>
          </a:xfrm>
          <a:prstGeom prst="rect">
            <a:avLst/>
          </a:prstGeom>
          <a:noFill/>
          <a:ln>
            <a:noFill/>
          </a:ln>
        </p:spPr>
      </p:pic>
      <p:sp>
        <p:nvSpPr>
          <p:cNvPr id="9514" name="Google Shape;9514;p181"/>
          <p:cNvSpPr txBox="1">
            <a:spLocks noGrp="1"/>
          </p:cNvSpPr>
          <p:nvPr>
            <p:ph type="body" idx="1"/>
          </p:nvPr>
        </p:nvSpPr>
        <p:spPr>
          <a:xfrm>
            <a:off x="508000" y="2781300"/>
            <a:ext cx="7518400" cy="1295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4pPr>
            <a:lvl5pPr marL="2286000" lvl="4" indent="-3175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400"/>
              <a:buChar char="»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515" name="Google Shape;9515;p18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50517" y="3240117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516" name="Google Shape;9516;p181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ture Slide">
  <p:cSld name="1 Column, Tall Picture Slide">
    <p:spTree>
      <p:nvGrpSpPr>
        <p:cNvPr id="1" name="Shape 9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8" name="Google Shape;9518;p182"/>
          <p:cNvSpPr/>
          <p:nvPr/>
        </p:nvSpPr>
        <p:spPr>
          <a:xfrm>
            <a:off x="8418786" y="475526"/>
            <a:ext cx="3396015" cy="509005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19" name="Google Shape;9519;p182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20" name="Google Shape;9520;p182"/>
          <p:cNvSpPr txBox="1">
            <a:spLocks noGrp="1"/>
          </p:cNvSpPr>
          <p:nvPr>
            <p:ph type="body" idx="1"/>
          </p:nvPr>
        </p:nvSpPr>
        <p:spPr>
          <a:xfrm>
            <a:off x="457201" y="1356465"/>
            <a:ext cx="7514163" cy="4423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1" name="Google Shape;9521;p182"/>
          <p:cNvSpPr>
            <a:spLocks noGrp="1"/>
          </p:cNvSpPr>
          <p:nvPr>
            <p:ph type="pic" idx="2"/>
          </p:nvPr>
        </p:nvSpPr>
        <p:spPr>
          <a:xfrm>
            <a:off x="8273822" y="330561"/>
            <a:ext cx="3396015" cy="5090052"/>
          </a:xfrm>
          <a:prstGeom prst="rect">
            <a:avLst/>
          </a:prstGeom>
          <a:noFill/>
          <a:ln>
            <a:noFill/>
          </a:ln>
        </p:spPr>
      </p:sp>
      <p:sp>
        <p:nvSpPr>
          <p:cNvPr id="9522" name="Google Shape;9522;p182"/>
          <p:cNvSpPr txBox="1">
            <a:spLocks noGrp="1"/>
          </p:cNvSpPr>
          <p:nvPr>
            <p:ph type="title"/>
          </p:nvPr>
        </p:nvSpPr>
        <p:spPr>
          <a:xfrm>
            <a:off x="457202" y="319407"/>
            <a:ext cx="7514164" cy="10370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23" name="Google Shape;9523;p182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ture Slide">
  <p:cSld name="1 Column, Wide Picture Slide">
    <p:spTree>
      <p:nvGrpSpPr>
        <p:cNvPr id="1" name="Shape 9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5" name="Google Shape;9525;p183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26" name="Google Shape;9526;p183"/>
          <p:cNvSpPr txBox="1">
            <a:spLocks noGrp="1"/>
          </p:cNvSpPr>
          <p:nvPr>
            <p:ph type="body" idx="1"/>
          </p:nvPr>
        </p:nvSpPr>
        <p:spPr>
          <a:xfrm>
            <a:off x="457202" y="1356465"/>
            <a:ext cx="5177753" cy="4423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7" name="Google Shape;9527;p183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28" name="Google Shape;9528;p183"/>
          <p:cNvSpPr/>
          <p:nvPr/>
        </p:nvSpPr>
        <p:spPr>
          <a:xfrm>
            <a:off x="6195297" y="1722501"/>
            <a:ext cx="5580179" cy="372011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29" name="Google Shape;9529;p183"/>
          <p:cNvSpPr>
            <a:spLocks noGrp="1"/>
          </p:cNvSpPr>
          <p:nvPr>
            <p:ph type="pic" idx="2"/>
          </p:nvPr>
        </p:nvSpPr>
        <p:spPr>
          <a:xfrm>
            <a:off x="6050333" y="1577538"/>
            <a:ext cx="5580179" cy="3720119"/>
          </a:xfrm>
          <a:prstGeom prst="rect">
            <a:avLst/>
          </a:prstGeom>
          <a:noFill/>
          <a:ln>
            <a:noFill/>
          </a:ln>
        </p:spPr>
      </p:sp>
      <p:sp>
        <p:nvSpPr>
          <p:cNvPr id="9530" name="Google Shape;9530;p183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ll Out Slide ">
  <p:cSld name="Call Out Slide ">
    <p:spTree>
      <p:nvGrpSpPr>
        <p:cNvPr id="1" name="Shape 9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2" name="Google Shape;9532;p184"/>
          <p:cNvSpPr txBox="1">
            <a:spLocks noGrp="1"/>
          </p:cNvSpPr>
          <p:nvPr>
            <p:ph type="title"/>
          </p:nvPr>
        </p:nvSpPr>
        <p:spPr>
          <a:xfrm>
            <a:off x="457200" y="138223"/>
            <a:ext cx="11271387" cy="5411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600"/>
              <a:buFont typeface="Arial"/>
              <a:buNone/>
              <a:defRPr sz="6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33" name="Google Shape;9533;p184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34" name="Google Shape;9534;p184"/>
          <p:cNvSpPr txBox="1">
            <a:spLocks noGrp="1"/>
          </p:cNvSpPr>
          <p:nvPr>
            <p:ph type="body" idx="1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Slide">
  <p:cSld name="Logo Slide">
    <p:spTree>
      <p:nvGrpSpPr>
        <p:cNvPr id="1" name="Shape 9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36" name="Google Shape;9536;p1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8400" y="2164853"/>
            <a:ext cx="9855200" cy="2528297"/>
          </a:xfrm>
          <a:prstGeom prst="rect">
            <a:avLst/>
          </a:prstGeom>
          <a:noFill/>
          <a:ln>
            <a:noFill/>
          </a:ln>
        </p:spPr>
      </p:pic>
      <p:sp>
        <p:nvSpPr>
          <p:cNvPr id="9537" name="Google Shape;9537;p185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9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39" name="Google Shape;953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540" name="Google Shape;954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41" name="Google Shape;954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42" name="Google Shape;954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43" name="Google Shape;954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44" name="Google Shape;954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5" name="Google Shape;954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52" name="Google Shape;9552;p1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3" name="Google Shape;9553;p1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4" name="Google Shape;9554;p1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55" name="Google Shape;9555;p1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56" name="Google Shape;9556;p1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557" name="Google Shape;9557;p1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p1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p1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p1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p1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9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72" name="Google Shape;9572;p13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573" name="Google Shape;9573;p13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74" name="Google Shape;9574;p1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75" name="Google Shape;9575;p13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576" name="Google Shape;9576;p1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77" name="Google Shape;9577;p13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78" name="Google Shape;9578;p13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0" name="Google Shape;9580;p13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81" name="Google Shape;9581;p13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2" name="Google Shape;9582;p13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83" name="Google Shape;9583;p13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84" name="Google Shape;9584;p1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85" name="Google Shape;9585;p1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86" name="Google Shape;9586;p13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87" name="Google Shape;9587;p1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88" name="Google Shape;9588;p13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89" name="Google Shape;9589;p1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90" name="Google Shape;9590;p1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591" name="Google Shape;9591;p13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3" name="Google Shape;9593;p1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94" name="Google Shape;9594;p1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95" name="Google Shape;9595;p1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96" name="Google Shape;9596;p1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97" name="Google Shape;9597;p1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598" name="Google Shape;9598;p1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599" name="Google Shape;9599;p1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9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1" name="Google Shape;9601;p1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02" name="Google Shape;9602;p1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3" name="Google Shape;9603;p1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4" name="Google Shape;9604;p1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5" name="Google Shape;9605;p1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6" name="Google Shape;9606;p1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7" name="Google Shape;9607;p1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8" name="Google Shape;9608;p1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p1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0" name="Google Shape;9610;p1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11" name="Google Shape;9611;p1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612" name="Google Shape;9612;p1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4" name="Google Shape;9614;p13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5" name="Google Shape;9615;p13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16" name="Google Shape;9616;p1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7" name="Google Shape;9617;p1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8" name="Google Shape;9618;p1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9" name="Google Shape;9619;p1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20" name="Google Shape;9620;p1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21" name="Google Shape;9621;p13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2" name="Google Shape;9622;p13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3" name="Google Shape;9623;p1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4" name="Google Shape;9624;p1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26" name="Google Shape;9626;p1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7" name="Google Shape;9627;p1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8" name="Google Shape;9628;p1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9" name="Google Shape;9629;p1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30" name="Google Shape;9630;p1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31" name="Google Shape;9631;p13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2" name="Google Shape;9632;p13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3" name="Google Shape;9633;p13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4" name="Google Shape;9634;p13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5" name="Google Shape;9635;p13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1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7" name="Google Shape;9637;p1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38" name="Google Shape;9638;p1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0" name="Google Shape;9640;p1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1" name="Google Shape;9641;p1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2" name="Google Shape;9642;p1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3" name="Google Shape;9643;p1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44" name="Google Shape;9644;p1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45" name="Google Shape;9645;p1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6" name="Google Shape;9646;p1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7" name="Google Shape;9647;p1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8" name="Google Shape;9648;p1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0" name="Google Shape;9650;p13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1" name="Google Shape;9651;p13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52" name="Google Shape;9652;p13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53" name="Google Shape;9653;p13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54" name="Google Shape;9654;p13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5" name="Google Shape;9655;p13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56" name="Google Shape;9656;p13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57" name="Google Shape;9657;p13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9" name="Google Shape;9659;p1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0" name="Google Shape;9660;p1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1" name="Google Shape;9661;p1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2" name="Google Shape;9662;p1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63" name="Google Shape;9663;p1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4" name="Google Shape;9664;p1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65" name="Google Shape;9665;p1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66" name="Google Shape;9666;p1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8" name="Google Shape;9668;p3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69" name="Google Shape;9669;p3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0" name="Google Shape;9670;p3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1" name="Google Shape;9671;p3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2" name="Google Shape;9672;p3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73" name="Google Shape;9673;p3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4" name="Google Shape;9674;p3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75" name="Google Shape;9675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9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7" name="Google Shape;9677;p13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78" name="Google Shape;9678;p13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9" name="Google Shape;9679;p13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0" name="Google Shape;9680;p13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81" name="Google Shape;9681;p1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2" name="Google Shape;9682;p13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3" name="Google Shape;9683;p13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9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5" name="Google Shape;9685;p3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86" name="Google Shape;9686;p3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87" name="Google Shape;9687;p3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688" name="Google Shape;9688;p3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9" name="Google Shape;9689;p3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90" name="Google Shape;9690;p3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91" name="Google Shape;9691;p3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9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3" name="Google Shape;9693;p3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94" name="Google Shape;9694;p3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5" name="Google Shape;9695;p3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6" name="Google Shape;9696;p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97" name="Google Shape;9697;p3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98" name="Google Shape;9698;p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99" name="Google Shape;9699;p3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0" name="Google Shape;9700;p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1" name="Google Shape;9701;p3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2" name="Google Shape;9702;p3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03" name="Google Shape;9703;p3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04" name="Google Shape;9704;p3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9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06" name="Google Shape;9706;p1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7" name="Google Shape;9707;p1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8" name="Google Shape;9708;p1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9" name="Google Shape;9709;p1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10" name="Google Shape;9710;p1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11" name="Google Shape;9711;p1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2" name="Google Shape;9712;p13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13" name="Google Shape;9713;p1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14" name="Google Shape;9714;p1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15" name="Google Shape;9715;p1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7" name="Google Shape;9717;p1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8" name="Google Shape;9718;p13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19" name="Google Shape;9719;p1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20" name="Google Shape;9720;p1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1" name="Google Shape;9721;p1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2" name="Google Shape;9722;p1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23" name="Google Shape;9723;p1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24" name="Google Shape;9724;p13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5" name="Google Shape;9725;p13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6" name="Google Shape;9726;p1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7" name="Google Shape;9727;p1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9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9" name="Google Shape;9729;p3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0" name="Google Shape;9730;p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1" name="Google Shape;9731;p3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2" name="Google Shape;9732;p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33" name="Google Shape;9733;p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34" name="Google Shape;9734;p3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5" name="Google Shape;9735;p3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6" name="Google Shape;9736;p3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7" name="Google Shape;9737;p3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8" name="Google Shape;9738;p3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9" name="Google Shape;9739;p3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0" name="Google Shape;9740;p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1" name="Google Shape;9741;p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3" name="Google Shape;9743;p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44" name="Google Shape;9744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5" name="Google Shape;9745;p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46" name="Google Shape;9746;p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47" name="Google Shape;9747;p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48" name="Google Shape;9748;p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9" name="Google Shape;9749;p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0" name="Google Shape;9750;p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1" name="Google Shape;9751;p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9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3" name="Google Shape;9753;p3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4" name="Google Shape;9754;p3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55" name="Google Shape;9755;p3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756" name="Google Shape;9756;p35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57" name="Google Shape;9757;p3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58" name="Google Shape;9758;p3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59" name="Google Shape;9759;p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0" name="Google Shape;9760;p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2" name="Google Shape;9762;p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3" name="Google Shape;9763;p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4" name="Google Shape;9764;p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5" name="Google Shape;9765;p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66" name="Google Shape;9766;p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67" name="Google Shape;9767;p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68" name="Google Shape;9768;p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69" name="Google Shape;9769;p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9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1" name="Google Shape;9771;p13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2" name="Google Shape;9772;p13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3" name="Google Shape;9773;p13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4" name="Google Shape;9774;p1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5" name="Google Shape;9775;p1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76" name="Google Shape;9776;p1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77" name="Google Shape;9777;p1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8" name="Google Shape;9778;p1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9" name="Google Shape;9779;p1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80" name="Google Shape;9780;p1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81" name="Google Shape;9781;p1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82" name="Google Shape;9782;p13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9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4" name="Google Shape;9784;p13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85" name="Google Shape;9785;p13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6" name="Google Shape;9786;p13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87" name="Google Shape;9787;p13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88" name="Google Shape;9788;p13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89" name="Google Shape;9789;p13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0" name="Google Shape;9790;p13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1" name="Google Shape;9791;p1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3" name="Google Shape;9793;p1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94" name="Google Shape;9794;p1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5" name="Google Shape;9795;p1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6" name="Google Shape;9796;p1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7" name="Google Shape;9797;p1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98" name="Google Shape;9798;p1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9" name="Google Shape;9799;p1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9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Google Shape;9801;p13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02" name="Google Shape;9802;p13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03" name="Google Shape;9803;p13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04" name="Google Shape;9804;p13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05" name="Google Shape;9805;p13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06" name="Google Shape;9806;p13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07" name="Google Shape;9807;p13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9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9" name="Google Shape;9809;p13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0" name="Google Shape;9810;p1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1" name="Google Shape;9811;p1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12" name="Google Shape;9812;p1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13" name="Google Shape;9813;p1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4" name="Google Shape;9814;p1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15" name="Google Shape;9815;p1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6" name="Google Shape;9816;p1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7" name="Google Shape;9817;p1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8" name="Google Shape;9818;p1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19" name="Google Shape;9819;p1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820" name="Google Shape;9820;p13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9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2" name="Google Shape;9822;p13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23" name="Google Shape;9823;p1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4" name="Google Shape;9824;p13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5" name="Google Shape;9825;p1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26" name="Google Shape;9826;p1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27" name="Google Shape;9827;p13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8" name="Google Shape;9828;p13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p1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0" name="Google Shape;9830;p1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31" name="Google Shape;9831;p1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p1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4" name="Google Shape;9834;p13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35" name="Google Shape;9835;p1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6" name="Google Shape;9836;p1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7" name="Google Shape;9837;p1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8" name="Google Shape;9838;p1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39" name="Google Shape;9839;p1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40" name="Google Shape;9840;p13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41" name="Google Shape;9841;p13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2" name="Google Shape;9842;p1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3" name="Google Shape;9843;p1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9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45" name="Google Shape;9845;p1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6" name="Google Shape;9846;p1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7" name="Google Shape;9847;p1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48" name="Google Shape;9848;p1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49" name="Google Shape;9849;p1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50" name="Google Shape;9850;p1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1" name="Google Shape;9851;p133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2" name="Google Shape;9852;p133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p13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4" name="Google Shape;9854;p133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5" name="Google Shape;9855;p1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56" name="Google Shape;9856;p1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57" name="Google Shape;9857;p1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9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9" name="Google Shape;9859;p1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0" name="Google Shape;9860;p1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1" name="Google Shape;9861;p1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2" name="Google Shape;9862;p1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63" name="Google Shape;9863;p1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64" name="Google Shape;9864;p13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5" name="Google Shape;9865;p13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66" name="Google Shape;9866;p1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67" name="Google Shape;9867;p1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9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69" name="Google Shape;9869;p13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70" name="Google Shape;9870;p13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71" name="Google Shape;9871;p13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72" name="Google Shape;9872;p133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3" name="Google Shape;9873;p133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4" name="Google Shape;9874;p13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75" name="Google Shape;9875;p1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76" name="Google Shape;9876;p13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9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8" name="Google Shape;9878;p1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9" name="Google Shape;9879;p1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0" name="Google Shape;9880;p1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81" name="Google Shape;9881;p1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82" name="Google Shape;9882;p1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83" name="Google Shape;9883;p1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84" name="Google Shape;9884;p1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85" name="Google Shape;9885;p1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9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7" name="Google Shape;9887;p9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8" name="Google Shape;9888;p9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9" name="Google Shape;9889;p9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90" name="Google Shape;9890;p9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91" name="Google Shape;9891;p9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92" name="Google Shape;9892;p9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3" name="Google Shape;9893;p9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894" name="Google Shape;9894;p9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9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96" name="Google Shape;9896;p133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97" name="Google Shape;9897;p13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8" name="Google Shape;9898;p1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9" name="Google Shape;9899;p13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00" name="Google Shape;9900;p1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01" name="Google Shape;9901;p133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2" name="Google Shape;9902;p133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9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4" name="Google Shape;9904;p1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05" name="Google Shape;9905;p1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6" name="Google Shape;9906;p1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7" name="Google Shape;9907;p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8" name="Google Shape;9908;p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09" name="Google Shape;9909;p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10" name="Google Shape;9910;p1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11" name="Google Shape;9911;p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2" name="Google Shape;9912;p1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13" name="Google Shape;9913;p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14" name="Google Shape;9914;p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15" name="Google Shape;9915;p1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9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7" name="Google Shape;9917;p9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8" name="Google Shape;9918;p9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9" name="Google Shape;9919;p9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20" name="Google Shape;9920;p9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21" name="Google Shape;9921;p9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22" name="Google Shape;9922;p9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23" name="Google Shape;9923;p9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9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5" name="Google Shape;9925;p13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26" name="Google Shape;9926;p13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7" name="Google Shape;9927;p13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8" name="Google Shape;9928;p1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29" name="Google Shape;9929;p1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30" name="Google Shape;9930;p1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31" name="Google Shape;9931;p1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2" name="Google Shape;9932;p1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3" name="Google Shape;9933;p1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34" name="Google Shape;9934;p1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35" name="Google Shape;9935;p1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36" name="Google Shape;9936;p13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8" name="Google Shape;9938;p9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9" name="Google Shape;9939;p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0" name="Google Shape;9940;p9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1" name="Google Shape;9941;p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42" name="Google Shape;9942;p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43" name="Google Shape;9943;p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4" name="Google Shape;9944;p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5" name="Google Shape;9945;p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6" name="Google Shape;9946;p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7" name="Google Shape;9947;p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9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9" name="Google Shape;9949;p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0" name="Google Shape;9950;p9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51" name="Google Shape;9951;p9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2" name="Google Shape;9952;p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3" name="Google Shape;9953;p9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4" name="Google Shape;9954;p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55" name="Google Shape;9955;p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56" name="Google Shape;9956;p9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7" name="Google Shape;9957;p9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58" name="Google Shape;9958;p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59" name="Google Shape;9959;p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9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61" name="Google Shape;9961;p9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62" name="Google Shape;9962;p9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63" name="Google Shape;9963;p9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64" name="Google Shape;9964;p9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65" name="Google Shape;9965;p9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66" name="Google Shape;9966;p9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p9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8" name="Google Shape;9968;p9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9" name="Google Shape;9969;p9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70" name="Google Shape;9970;p9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71" name="Google Shape;9971;p9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2" name="Google Shape;9972;p9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3" name="Google Shape;9973;p9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9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5" name="Google Shape;9975;p9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76" name="Google Shape;9976;p9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77" name="Google Shape;9977;p9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78" name="Google Shape;9978;p9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79" name="Google Shape;9979;p9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80" name="Google Shape;9980;p9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1" name="Google Shape;9981;p9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82" name="Google Shape;9982;p9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83" name="Google Shape;9983;p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85" name="Google Shape;9985;p9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86" name="Google Shape;9986;p9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87" name="Google Shape;9987;p9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88" name="Google Shape;9988;p9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89" name="Google Shape;9989;p9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0" name="Google Shape;9990;p9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1" name="Google Shape;9991;p9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92" name="Google Shape;9992;p9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9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" name="Google Shape;9994;p9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5" name="Google Shape;9995;p9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96" name="Google Shape;9996;p9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97" name="Google Shape;9997;p9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98" name="Google Shape;9998;p9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9" name="Google Shape;9999;p9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0" name="Google Shape;10000;p9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01" name="Google Shape;10001;p9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10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3" name="Google Shape;10003;p90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04" name="Google Shape;10004;p90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5" name="Google Shape;10005;p90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06" name="Google Shape;10006;p9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07" name="Google Shape;10007;p90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08" name="Google Shape;10008;p9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9" name="Google Shape;10009;p9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0" name="Google Shape;10010;p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10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12" name="Google Shape;10012;p3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13" name="Google Shape;10013;p3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4" name="Google Shape;10014;p3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5" name="Google Shape;10015;p3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6" name="Google Shape;10016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17" name="Google Shape;10017;p3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8" name="Google Shape;10018;p3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0" name="Google Shape;10020;p13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1" name="Google Shape;10021;p13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2" name="Google Shape;10022;p13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23" name="Google Shape;10023;p13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4" name="Google Shape;10024;p13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25" name="Google Shape;10025;p13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26" name="Google Shape;10026;p1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p13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9" name="Google Shape;10029;p13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0" name="Google Shape;10030;p13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1" name="Google Shape;10031;p1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32" name="Google Shape;10032;p1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33" name="Google Shape;10033;p1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34" name="Google Shape;10034;p1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5" name="Google Shape;10035;p1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36" name="Google Shape;10036;p1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37" name="Google Shape;10037;p1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38" name="Google Shape;10038;p1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39" name="Google Shape;10039;p13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10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" name="Google Shape;10041;p1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2" name="Google Shape;10042;p1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43" name="Google Shape;10043;p1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4" name="Google Shape;10044;p1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5" name="Google Shape;10045;p1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6" name="Google Shape;10046;p1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7" name="Google Shape;10047;p1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48" name="Google Shape;10048;p1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9" name="Google Shape;10049;p1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0" name="Google Shape;10050;p1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1" name="Google Shape;10051;p1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52" name="Google Shape;10052;p1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54" name="Google Shape;10054;p13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5" name="Google Shape;10055;p1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6" name="Google Shape;10056;p13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7" name="Google Shape;10057;p13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8" name="Google Shape;10058;p13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59" name="Google Shape;10059;p13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0" name="Google Shape;10060;p13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1" name="Google Shape;10061;p13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2" name="Google Shape;10062;p13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3" name="Google Shape;10063;p13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10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5" name="Google Shape;10065;p1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6" name="Google Shape;10066;p1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7" name="Google Shape;10067;p1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8" name="Google Shape;10068;p1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9" name="Google Shape;10069;p1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0" name="Google Shape;10070;p1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71" name="Google Shape;10071;p1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72" name="Google Shape;10072;p13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73" name="Google Shape;10073;p13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74" name="Google Shape;10074;p1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5" name="Google Shape;10075;p1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10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7" name="Google Shape;10077;p1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8" name="Google Shape;10078;p1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9" name="Google Shape;10079;p1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0" name="Google Shape;10080;p1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81" name="Google Shape;10081;p1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82" name="Google Shape;10082;p1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3" name="Google Shape;10083;p13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4" name="Google Shape;10084;p13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5" name="Google Shape;10085;p1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6" name="Google Shape;10086;p1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7" name="Google Shape;10087;p1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8" name="Google Shape;10088;p1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9" name="Google Shape;10089;p1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10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1" name="Google Shape;10091;p1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2" name="Google Shape;10092;p1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3" name="Google Shape;10093;p1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4" name="Google Shape;10094;p1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95" name="Google Shape;10095;p1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96" name="Google Shape;10096;p1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7" name="Google Shape;10097;p1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8" name="Google Shape;10098;p1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9" name="Google Shape;10099;p1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10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01" name="Google Shape;10101;p3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02" name="Google Shape;10102;p3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3" name="Google Shape;10103;p3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04" name="Google Shape;10104;p3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05" name="Google Shape;10105;p3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6" name="Google Shape;10106;p3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7" name="Google Shape;10107;p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8" name="Google Shape;10108;p3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10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0" name="Google Shape;10110;p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1" name="Google Shape;10111;p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2" name="Google Shape;10112;p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13" name="Google Shape;10113;p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4" name="Google Shape;10114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5" name="Google Shape;10115;p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6" name="Google Shape;10116;p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17" name="Google Shape;10117;p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10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9" name="Google Shape;10119;p7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0" name="Google Shape;10120;p7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p7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22" name="Google Shape;10122;p7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23" name="Google Shape;10123;p7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24" name="Google Shape;10124;p7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5" name="Google Shape;10125;p7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26" name="Google Shape;10126;p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10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8" name="Google Shape;10128;p7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29" name="Google Shape;10129;p7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0" name="Google Shape;10130;p7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1" name="Google Shape;10131;p7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32" name="Google Shape;10132;p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3" name="Google Shape;10133;p7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4" name="Google Shape;10134;p7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10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6" name="Google Shape;10136;p13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7" name="Google Shape;10137;p13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8" name="Google Shape;10138;p13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39" name="Google Shape;10139;p1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0" name="Google Shape;10140;p1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1" name="Google Shape;10141;p1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2" name="Google Shape;10142;p1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43" name="Google Shape;10143;p1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4" name="Google Shape;10144;p1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45" name="Google Shape;10145;p1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46" name="Google Shape;10146;p1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147" name="Google Shape;10147;p13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theme" Target="../theme/theme1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89.xml"/><Relationship Id="rId21" Type="http://schemas.openxmlformats.org/officeDocument/2006/relationships/slideLayout" Target="../slideLayouts/slideLayout293.xml"/><Relationship Id="rId42" Type="http://schemas.openxmlformats.org/officeDocument/2006/relationships/slideLayout" Target="../slideLayouts/slideLayout314.xml"/><Relationship Id="rId63" Type="http://schemas.openxmlformats.org/officeDocument/2006/relationships/slideLayout" Target="../slideLayouts/slideLayout335.xml"/><Relationship Id="rId84" Type="http://schemas.openxmlformats.org/officeDocument/2006/relationships/slideLayout" Target="../slideLayouts/slideLayout356.xml"/><Relationship Id="rId138" Type="http://schemas.openxmlformats.org/officeDocument/2006/relationships/slideLayout" Target="../slideLayouts/slideLayout410.xml"/><Relationship Id="rId107" Type="http://schemas.openxmlformats.org/officeDocument/2006/relationships/slideLayout" Target="../slideLayouts/slideLayout379.xml"/><Relationship Id="rId11" Type="http://schemas.openxmlformats.org/officeDocument/2006/relationships/slideLayout" Target="../slideLayouts/slideLayout283.xml"/><Relationship Id="rId32" Type="http://schemas.openxmlformats.org/officeDocument/2006/relationships/slideLayout" Target="../slideLayouts/slideLayout304.xml"/><Relationship Id="rId53" Type="http://schemas.openxmlformats.org/officeDocument/2006/relationships/slideLayout" Target="../slideLayouts/slideLayout325.xml"/><Relationship Id="rId74" Type="http://schemas.openxmlformats.org/officeDocument/2006/relationships/slideLayout" Target="../slideLayouts/slideLayout346.xml"/><Relationship Id="rId128" Type="http://schemas.openxmlformats.org/officeDocument/2006/relationships/slideLayout" Target="../slideLayouts/slideLayout400.xml"/><Relationship Id="rId149" Type="http://schemas.openxmlformats.org/officeDocument/2006/relationships/slideLayout" Target="../slideLayouts/slideLayout421.xml"/><Relationship Id="rId5" Type="http://schemas.openxmlformats.org/officeDocument/2006/relationships/slideLayout" Target="../slideLayouts/slideLayout277.xml"/><Relationship Id="rId95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294.xml"/><Relationship Id="rId27" Type="http://schemas.openxmlformats.org/officeDocument/2006/relationships/slideLayout" Target="../slideLayouts/slideLayout299.xml"/><Relationship Id="rId43" Type="http://schemas.openxmlformats.org/officeDocument/2006/relationships/slideLayout" Target="../slideLayouts/slideLayout315.xml"/><Relationship Id="rId48" Type="http://schemas.openxmlformats.org/officeDocument/2006/relationships/slideLayout" Target="../slideLayouts/slideLayout320.xml"/><Relationship Id="rId64" Type="http://schemas.openxmlformats.org/officeDocument/2006/relationships/slideLayout" Target="../slideLayouts/slideLayout336.xml"/><Relationship Id="rId69" Type="http://schemas.openxmlformats.org/officeDocument/2006/relationships/slideLayout" Target="../slideLayouts/slideLayout341.xml"/><Relationship Id="rId113" Type="http://schemas.openxmlformats.org/officeDocument/2006/relationships/slideLayout" Target="../slideLayouts/slideLayout385.xml"/><Relationship Id="rId118" Type="http://schemas.openxmlformats.org/officeDocument/2006/relationships/slideLayout" Target="../slideLayouts/slideLayout390.xml"/><Relationship Id="rId134" Type="http://schemas.openxmlformats.org/officeDocument/2006/relationships/slideLayout" Target="../slideLayouts/slideLayout406.xml"/><Relationship Id="rId139" Type="http://schemas.openxmlformats.org/officeDocument/2006/relationships/slideLayout" Target="../slideLayouts/slideLayout411.xml"/><Relationship Id="rId80" Type="http://schemas.openxmlformats.org/officeDocument/2006/relationships/slideLayout" Target="../slideLayouts/slideLayout352.xml"/><Relationship Id="rId85" Type="http://schemas.openxmlformats.org/officeDocument/2006/relationships/slideLayout" Target="../slideLayouts/slideLayout357.xml"/><Relationship Id="rId150" Type="http://schemas.openxmlformats.org/officeDocument/2006/relationships/theme" Target="../theme/theme2.xml"/><Relationship Id="rId12" Type="http://schemas.openxmlformats.org/officeDocument/2006/relationships/slideLayout" Target="../slideLayouts/slideLayout284.xml"/><Relationship Id="rId17" Type="http://schemas.openxmlformats.org/officeDocument/2006/relationships/slideLayout" Target="../slideLayouts/slideLayout289.xml"/><Relationship Id="rId33" Type="http://schemas.openxmlformats.org/officeDocument/2006/relationships/slideLayout" Target="../slideLayouts/slideLayout305.xml"/><Relationship Id="rId38" Type="http://schemas.openxmlformats.org/officeDocument/2006/relationships/slideLayout" Target="../slideLayouts/slideLayout310.xml"/><Relationship Id="rId59" Type="http://schemas.openxmlformats.org/officeDocument/2006/relationships/slideLayout" Target="../slideLayouts/slideLayout331.xml"/><Relationship Id="rId103" Type="http://schemas.openxmlformats.org/officeDocument/2006/relationships/slideLayout" Target="../slideLayouts/slideLayout375.xml"/><Relationship Id="rId108" Type="http://schemas.openxmlformats.org/officeDocument/2006/relationships/slideLayout" Target="../slideLayouts/slideLayout380.xml"/><Relationship Id="rId124" Type="http://schemas.openxmlformats.org/officeDocument/2006/relationships/slideLayout" Target="../slideLayouts/slideLayout396.xml"/><Relationship Id="rId129" Type="http://schemas.openxmlformats.org/officeDocument/2006/relationships/slideLayout" Target="../slideLayouts/slideLayout401.xml"/><Relationship Id="rId54" Type="http://schemas.openxmlformats.org/officeDocument/2006/relationships/slideLayout" Target="../slideLayouts/slideLayout326.xml"/><Relationship Id="rId70" Type="http://schemas.openxmlformats.org/officeDocument/2006/relationships/slideLayout" Target="../slideLayouts/slideLayout342.xml"/><Relationship Id="rId75" Type="http://schemas.openxmlformats.org/officeDocument/2006/relationships/slideLayout" Target="../slideLayouts/slideLayout347.xml"/><Relationship Id="rId91" Type="http://schemas.openxmlformats.org/officeDocument/2006/relationships/slideLayout" Target="../slideLayouts/slideLayout363.xml"/><Relationship Id="rId96" Type="http://schemas.openxmlformats.org/officeDocument/2006/relationships/slideLayout" Target="../slideLayouts/slideLayout368.xml"/><Relationship Id="rId140" Type="http://schemas.openxmlformats.org/officeDocument/2006/relationships/slideLayout" Target="../slideLayouts/slideLayout412.xml"/><Relationship Id="rId145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23" Type="http://schemas.openxmlformats.org/officeDocument/2006/relationships/slideLayout" Target="../slideLayouts/slideLayout295.xml"/><Relationship Id="rId28" Type="http://schemas.openxmlformats.org/officeDocument/2006/relationships/slideLayout" Target="../slideLayouts/slideLayout300.xml"/><Relationship Id="rId49" Type="http://schemas.openxmlformats.org/officeDocument/2006/relationships/slideLayout" Target="../slideLayouts/slideLayout321.xml"/><Relationship Id="rId114" Type="http://schemas.openxmlformats.org/officeDocument/2006/relationships/slideLayout" Target="../slideLayouts/slideLayout386.xml"/><Relationship Id="rId119" Type="http://schemas.openxmlformats.org/officeDocument/2006/relationships/slideLayout" Target="../slideLayouts/slideLayout391.xml"/><Relationship Id="rId44" Type="http://schemas.openxmlformats.org/officeDocument/2006/relationships/slideLayout" Target="../slideLayouts/slideLayout316.xml"/><Relationship Id="rId60" Type="http://schemas.openxmlformats.org/officeDocument/2006/relationships/slideLayout" Target="../slideLayouts/slideLayout332.xml"/><Relationship Id="rId65" Type="http://schemas.openxmlformats.org/officeDocument/2006/relationships/slideLayout" Target="../slideLayouts/slideLayout337.xml"/><Relationship Id="rId81" Type="http://schemas.openxmlformats.org/officeDocument/2006/relationships/slideLayout" Target="../slideLayouts/slideLayout353.xml"/><Relationship Id="rId86" Type="http://schemas.openxmlformats.org/officeDocument/2006/relationships/slideLayout" Target="../slideLayouts/slideLayout358.xml"/><Relationship Id="rId130" Type="http://schemas.openxmlformats.org/officeDocument/2006/relationships/slideLayout" Target="../slideLayouts/slideLayout402.xml"/><Relationship Id="rId135" Type="http://schemas.openxmlformats.org/officeDocument/2006/relationships/slideLayout" Target="../slideLayouts/slideLayout407.xml"/><Relationship Id="rId13" Type="http://schemas.openxmlformats.org/officeDocument/2006/relationships/slideLayout" Target="../slideLayouts/slideLayout285.xml"/><Relationship Id="rId18" Type="http://schemas.openxmlformats.org/officeDocument/2006/relationships/slideLayout" Target="../slideLayouts/slideLayout290.xml"/><Relationship Id="rId39" Type="http://schemas.openxmlformats.org/officeDocument/2006/relationships/slideLayout" Target="../slideLayouts/slideLayout311.xml"/><Relationship Id="rId109" Type="http://schemas.openxmlformats.org/officeDocument/2006/relationships/slideLayout" Target="../slideLayouts/slideLayout381.xml"/><Relationship Id="rId34" Type="http://schemas.openxmlformats.org/officeDocument/2006/relationships/slideLayout" Target="../slideLayouts/slideLayout306.xml"/><Relationship Id="rId50" Type="http://schemas.openxmlformats.org/officeDocument/2006/relationships/slideLayout" Target="../slideLayouts/slideLayout322.xml"/><Relationship Id="rId55" Type="http://schemas.openxmlformats.org/officeDocument/2006/relationships/slideLayout" Target="../slideLayouts/slideLayout327.xml"/><Relationship Id="rId76" Type="http://schemas.openxmlformats.org/officeDocument/2006/relationships/slideLayout" Target="../slideLayouts/slideLayout348.xml"/><Relationship Id="rId97" Type="http://schemas.openxmlformats.org/officeDocument/2006/relationships/slideLayout" Target="../slideLayouts/slideLayout369.xml"/><Relationship Id="rId104" Type="http://schemas.openxmlformats.org/officeDocument/2006/relationships/slideLayout" Target="../slideLayouts/slideLayout376.xml"/><Relationship Id="rId120" Type="http://schemas.openxmlformats.org/officeDocument/2006/relationships/slideLayout" Target="../slideLayouts/slideLayout392.xml"/><Relationship Id="rId125" Type="http://schemas.openxmlformats.org/officeDocument/2006/relationships/slideLayout" Target="../slideLayouts/slideLayout397.xml"/><Relationship Id="rId141" Type="http://schemas.openxmlformats.org/officeDocument/2006/relationships/slideLayout" Target="../slideLayouts/slideLayout413.xml"/><Relationship Id="rId146" Type="http://schemas.openxmlformats.org/officeDocument/2006/relationships/slideLayout" Target="../slideLayouts/slideLayout418.xml"/><Relationship Id="rId7" Type="http://schemas.openxmlformats.org/officeDocument/2006/relationships/slideLayout" Target="../slideLayouts/slideLayout279.xml"/><Relationship Id="rId71" Type="http://schemas.openxmlformats.org/officeDocument/2006/relationships/slideLayout" Target="../slideLayouts/slideLayout343.xml"/><Relationship Id="rId92" Type="http://schemas.openxmlformats.org/officeDocument/2006/relationships/slideLayout" Target="../slideLayouts/slideLayout364.xml"/><Relationship Id="rId2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296.xml"/><Relationship Id="rId40" Type="http://schemas.openxmlformats.org/officeDocument/2006/relationships/slideLayout" Target="../slideLayouts/slideLayout312.xml"/><Relationship Id="rId45" Type="http://schemas.openxmlformats.org/officeDocument/2006/relationships/slideLayout" Target="../slideLayouts/slideLayout317.xml"/><Relationship Id="rId66" Type="http://schemas.openxmlformats.org/officeDocument/2006/relationships/slideLayout" Target="../slideLayouts/slideLayout338.xml"/><Relationship Id="rId87" Type="http://schemas.openxmlformats.org/officeDocument/2006/relationships/slideLayout" Target="../slideLayouts/slideLayout359.xml"/><Relationship Id="rId110" Type="http://schemas.openxmlformats.org/officeDocument/2006/relationships/slideLayout" Target="../slideLayouts/slideLayout382.xml"/><Relationship Id="rId115" Type="http://schemas.openxmlformats.org/officeDocument/2006/relationships/slideLayout" Target="../slideLayouts/slideLayout387.xml"/><Relationship Id="rId131" Type="http://schemas.openxmlformats.org/officeDocument/2006/relationships/slideLayout" Target="../slideLayouts/slideLayout403.xml"/><Relationship Id="rId136" Type="http://schemas.openxmlformats.org/officeDocument/2006/relationships/slideLayout" Target="../slideLayouts/slideLayout408.xml"/><Relationship Id="rId61" Type="http://schemas.openxmlformats.org/officeDocument/2006/relationships/slideLayout" Target="../slideLayouts/slideLayout333.xml"/><Relationship Id="rId82" Type="http://schemas.openxmlformats.org/officeDocument/2006/relationships/slideLayout" Target="../slideLayouts/slideLayout354.xml"/><Relationship Id="rId19" Type="http://schemas.openxmlformats.org/officeDocument/2006/relationships/slideLayout" Target="../slideLayouts/slideLayout291.xml"/><Relationship Id="rId14" Type="http://schemas.openxmlformats.org/officeDocument/2006/relationships/slideLayout" Target="../slideLayouts/slideLayout286.xml"/><Relationship Id="rId30" Type="http://schemas.openxmlformats.org/officeDocument/2006/relationships/slideLayout" Target="../slideLayouts/slideLayout302.xml"/><Relationship Id="rId35" Type="http://schemas.openxmlformats.org/officeDocument/2006/relationships/slideLayout" Target="../slideLayouts/slideLayout307.xml"/><Relationship Id="rId56" Type="http://schemas.openxmlformats.org/officeDocument/2006/relationships/slideLayout" Target="../slideLayouts/slideLayout328.xml"/><Relationship Id="rId77" Type="http://schemas.openxmlformats.org/officeDocument/2006/relationships/slideLayout" Target="../slideLayouts/slideLayout349.xml"/><Relationship Id="rId100" Type="http://schemas.openxmlformats.org/officeDocument/2006/relationships/slideLayout" Target="../slideLayouts/slideLayout372.xml"/><Relationship Id="rId105" Type="http://schemas.openxmlformats.org/officeDocument/2006/relationships/slideLayout" Target="../slideLayouts/slideLayout377.xml"/><Relationship Id="rId126" Type="http://schemas.openxmlformats.org/officeDocument/2006/relationships/slideLayout" Target="../slideLayouts/slideLayout398.xml"/><Relationship Id="rId147" Type="http://schemas.openxmlformats.org/officeDocument/2006/relationships/slideLayout" Target="../slideLayouts/slideLayout419.xml"/><Relationship Id="rId8" Type="http://schemas.openxmlformats.org/officeDocument/2006/relationships/slideLayout" Target="../slideLayouts/slideLayout280.xml"/><Relationship Id="rId51" Type="http://schemas.openxmlformats.org/officeDocument/2006/relationships/slideLayout" Target="../slideLayouts/slideLayout323.xml"/><Relationship Id="rId72" Type="http://schemas.openxmlformats.org/officeDocument/2006/relationships/slideLayout" Target="../slideLayouts/slideLayout344.xml"/><Relationship Id="rId93" Type="http://schemas.openxmlformats.org/officeDocument/2006/relationships/slideLayout" Target="../slideLayouts/slideLayout365.xml"/><Relationship Id="rId98" Type="http://schemas.openxmlformats.org/officeDocument/2006/relationships/slideLayout" Target="../slideLayouts/slideLayout370.xml"/><Relationship Id="rId121" Type="http://schemas.openxmlformats.org/officeDocument/2006/relationships/slideLayout" Target="../slideLayouts/slideLayout393.xml"/><Relationship Id="rId142" Type="http://schemas.openxmlformats.org/officeDocument/2006/relationships/slideLayout" Target="../slideLayouts/slideLayout414.xml"/><Relationship Id="rId3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97.xml"/><Relationship Id="rId46" Type="http://schemas.openxmlformats.org/officeDocument/2006/relationships/slideLayout" Target="../slideLayouts/slideLayout318.xml"/><Relationship Id="rId67" Type="http://schemas.openxmlformats.org/officeDocument/2006/relationships/slideLayout" Target="../slideLayouts/slideLayout339.xml"/><Relationship Id="rId116" Type="http://schemas.openxmlformats.org/officeDocument/2006/relationships/slideLayout" Target="../slideLayouts/slideLayout388.xml"/><Relationship Id="rId137" Type="http://schemas.openxmlformats.org/officeDocument/2006/relationships/slideLayout" Target="../slideLayouts/slideLayout409.xml"/><Relationship Id="rId20" Type="http://schemas.openxmlformats.org/officeDocument/2006/relationships/slideLayout" Target="../slideLayouts/slideLayout292.xml"/><Relationship Id="rId41" Type="http://schemas.openxmlformats.org/officeDocument/2006/relationships/slideLayout" Target="../slideLayouts/slideLayout313.xml"/><Relationship Id="rId62" Type="http://schemas.openxmlformats.org/officeDocument/2006/relationships/slideLayout" Target="../slideLayouts/slideLayout334.xml"/><Relationship Id="rId83" Type="http://schemas.openxmlformats.org/officeDocument/2006/relationships/slideLayout" Target="../slideLayouts/slideLayout355.xml"/><Relationship Id="rId88" Type="http://schemas.openxmlformats.org/officeDocument/2006/relationships/slideLayout" Target="../slideLayouts/slideLayout360.xml"/><Relationship Id="rId111" Type="http://schemas.openxmlformats.org/officeDocument/2006/relationships/slideLayout" Target="../slideLayouts/slideLayout383.xml"/><Relationship Id="rId132" Type="http://schemas.openxmlformats.org/officeDocument/2006/relationships/slideLayout" Target="../slideLayouts/slideLayout404.xml"/><Relationship Id="rId15" Type="http://schemas.openxmlformats.org/officeDocument/2006/relationships/slideLayout" Target="../slideLayouts/slideLayout287.xml"/><Relationship Id="rId36" Type="http://schemas.openxmlformats.org/officeDocument/2006/relationships/slideLayout" Target="../slideLayouts/slideLayout308.xml"/><Relationship Id="rId57" Type="http://schemas.openxmlformats.org/officeDocument/2006/relationships/slideLayout" Target="../slideLayouts/slideLayout329.xml"/><Relationship Id="rId106" Type="http://schemas.openxmlformats.org/officeDocument/2006/relationships/slideLayout" Target="../slideLayouts/slideLayout378.xml"/><Relationship Id="rId127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282.xml"/><Relationship Id="rId31" Type="http://schemas.openxmlformats.org/officeDocument/2006/relationships/slideLayout" Target="../slideLayouts/slideLayout303.xml"/><Relationship Id="rId52" Type="http://schemas.openxmlformats.org/officeDocument/2006/relationships/slideLayout" Target="../slideLayouts/slideLayout324.xml"/><Relationship Id="rId73" Type="http://schemas.openxmlformats.org/officeDocument/2006/relationships/slideLayout" Target="../slideLayouts/slideLayout345.xml"/><Relationship Id="rId78" Type="http://schemas.openxmlformats.org/officeDocument/2006/relationships/slideLayout" Target="../slideLayouts/slideLayout350.xml"/><Relationship Id="rId94" Type="http://schemas.openxmlformats.org/officeDocument/2006/relationships/slideLayout" Target="../slideLayouts/slideLayout366.xml"/><Relationship Id="rId99" Type="http://schemas.openxmlformats.org/officeDocument/2006/relationships/slideLayout" Target="../slideLayouts/slideLayout371.xml"/><Relationship Id="rId101" Type="http://schemas.openxmlformats.org/officeDocument/2006/relationships/slideLayout" Target="../slideLayouts/slideLayout373.xml"/><Relationship Id="rId122" Type="http://schemas.openxmlformats.org/officeDocument/2006/relationships/slideLayout" Target="../slideLayouts/slideLayout394.xml"/><Relationship Id="rId143" Type="http://schemas.openxmlformats.org/officeDocument/2006/relationships/slideLayout" Target="../slideLayouts/slideLayout415.xml"/><Relationship Id="rId148" Type="http://schemas.openxmlformats.org/officeDocument/2006/relationships/slideLayout" Target="../slideLayouts/slideLayout420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26" Type="http://schemas.openxmlformats.org/officeDocument/2006/relationships/slideLayout" Target="../slideLayouts/slideLayout298.xml"/><Relationship Id="rId47" Type="http://schemas.openxmlformats.org/officeDocument/2006/relationships/slideLayout" Target="../slideLayouts/slideLayout319.xml"/><Relationship Id="rId68" Type="http://schemas.openxmlformats.org/officeDocument/2006/relationships/slideLayout" Target="../slideLayouts/slideLayout340.xml"/><Relationship Id="rId89" Type="http://schemas.openxmlformats.org/officeDocument/2006/relationships/slideLayout" Target="../slideLayouts/slideLayout361.xml"/><Relationship Id="rId112" Type="http://schemas.openxmlformats.org/officeDocument/2006/relationships/slideLayout" Target="../slideLayouts/slideLayout384.xml"/><Relationship Id="rId133" Type="http://schemas.openxmlformats.org/officeDocument/2006/relationships/slideLayout" Target="../slideLayouts/slideLayout405.xml"/><Relationship Id="rId16" Type="http://schemas.openxmlformats.org/officeDocument/2006/relationships/slideLayout" Target="../slideLayouts/slideLayout288.xml"/><Relationship Id="rId37" Type="http://schemas.openxmlformats.org/officeDocument/2006/relationships/slideLayout" Target="../slideLayouts/slideLayout309.xml"/><Relationship Id="rId58" Type="http://schemas.openxmlformats.org/officeDocument/2006/relationships/slideLayout" Target="../slideLayouts/slideLayout330.xml"/><Relationship Id="rId79" Type="http://schemas.openxmlformats.org/officeDocument/2006/relationships/slideLayout" Target="../slideLayouts/slideLayout351.xml"/><Relationship Id="rId102" Type="http://schemas.openxmlformats.org/officeDocument/2006/relationships/slideLayout" Target="../slideLayouts/slideLayout374.xml"/><Relationship Id="rId123" Type="http://schemas.openxmlformats.org/officeDocument/2006/relationships/slideLayout" Target="../slideLayouts/slideLayout395.xml"/><Relationship Id="rId144" Type="http://schemas.openxmlformats.org/officeDocument/2006/relationships/slideLayout" Target="../slideLayouts/slideLayout416.xml"/><Relationship Id="rId90" Type="http://schemas.openxmlformats.org/officeDocument/2006/relationships/slideLayout" Target="../slideLayouts/slideLayout362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38.xml"/><Relationship Id="rId299" Type="http://schemas.openxmlformats.org/officeDocument/2006/relationships/slideLayout" Target="../slideLayouts/slideLayout720.xml"/><Relationship Id="rId21" Type="http://schemas.openxmlformats.org/officeDocument/2006/relationships/slideLayout" Target="../slideLayouts/slideLayout442.xml"/><Relationship Id="rId63" Type="http://schemas.openxmlformats.org/officeDocument/2006/relationships/slideLayout" Target="../slideLayouts/slideLayout484.xml"/><Relationship Id="rId159" Type="http://schemas.openxmlformats.org/officeDocument/2006/relationships/slideLayout" Target="../slideLayouts/slideLayout580.xml"/><Relationship Id="rId324" Type="http://schemas.openxmlformats.org/officeDocument/2006/relationships/slideLayout" Target="../slideLayouts/slideLayout745.xml"/><Relationship Id="rId366" Type="http://schemas.openxmlformats.org/officeDocument/2006/relationships/slideLayout" Target="../slideLayouts/slideLayout787.xml"/><Relationship Id="rId170" Type="http://schemas.openxmlformats.org/officeDocument/2006/relationships/slideLayout" Target="../slideLayouts/slideLayout591.xml"/><Relationship Id="rId226" Type="http://schemas.openxmlformats.org/officeDocument/2006/relationships/slideLayout" Target="../slideLayouts/slideLayout647.xml"/><Relationship Id="rId433" Type="http://schemas.openxmlformats.org/officeDocument/2006/relationships/slideLayout" Target="../slideLayouts/slideLayout854.xml"/><Relationship Id="rId268" Type="http://schemas.openxmlformats.org/officeDocument/2006/relationships/slideLayout" Target="../slideLayouts/slideLayout689.xml"/><Relationship Id="rId475" Type="http://schemas.openxmlformats.org/officeDocument/2006/relationships/slideLayout" Target="../slideLayouts/slideLayout896.xml"/><Relationship Id="rId32" Type="http://schemas.openxmlformats.org/officeDocument/2006/relationships/slideLayout" Target="../slideLayouts/slideLayout453.xml"/><Relationship Id="rId74" Type="http://schemas.openxmlformats.org/officeDocument/2006/relationships/slideLayout" Target="../slideLayouts/slideLayout495.xml"/><Relationship Id="rId128" Type="http://schemas.openxmlformats.org/officeDocument/2006/relationships/slideLayout" Target="../slideLayouts/slideLayout549.xml"/><Relationship Id="rId335" Type="http://schemas.openxmlformats.org/officeDocument/2006/relationships/slideLayout" Target="../slideLayouts/slideLayout756.xml"/><Relationship Id="rId377" Type="http://schemas.openxmlformats.org/officeDocument/2006/relationships/slideLayout" Target="../slideLayouts/slideLayout798.xml"/><Relationship Id="rId500" Type="http://schemas.openxmlformats.org/officeDocument/2006/relationships/slideLayout" Target="../slideLayouts/slideLayout921.xml"/><Relationship Id="rId5" Type="http://schemas.openxmlformats.org/officeDocument/2006/relationships/slideLayout" Target="../slideLayouts/slideLayout426.xml"/><Relationship Id="rId181" Type="http://schemas.openxmlformats.org/officeDocument/2006/relationships/slideLayout" Target="../slideLayouts/slideLayout602.xml"/><Relationship Id="rId237" Type="http://schemas.openxmlformats.org/officeDocument/2006/relationships/slideLayout" Target="../slideLayouts/slideLayout658.xml"/><Relationship Id="rId402" Type="http://schemas.openxmlformats.org/officeDocument/2006/relationships/slideLayout" Target="../slideLayouts/slideLayout823.xml"/><Relationship Id="rId279" Type="http://schemas.openxmlformats.org/officeDocument/2006/relationships/slideLayout" Target="../slideLayouts/slideLayout700.xml"/><Relationship Id="rId444" Type="http://schemas.openxmlformats.org/officeDocument/2006/relationships/slideLayout" Target="../slideLayouts/slideLayout865.xml"/><Relationship Id="rId486" Type="http://schemas.openxmlformats.org/officeDocument/2006/relationships/slideLayout" Target="../slideLayouts/slideLayout907.xml"/><Relationship Id="rId43" Type="http://schemas.openxmlformats.org/officeDocument/2006/relationships/slideLayout" Target="../slideLayouts/slideLayout464.xml"/><Relationship Id="rId139" Type="http://schemas.openxmlformats.org/officeDocument/2006/relationships/slideLayout" Target="../slideLayouts/slideLayout560.xml"/><Relationship Id="rId290" Type="http://schemas.openxmlformats.org/officeDocument/2006/relationships/slideLayout" Target="../slideLayouts/slideLayout711.xml"/><Relationship Id="rId304" Type="http://schemas.openxmlformats.org/officeDocument/2006/relationships/slideLayout" Target="../slideLayouts/slideLayout725.xml"/><Relationship Id="rId346" Type="http://schemas.openxmlformats.org/officeDocument/2006/relationships/slideLayout" Target="../slideLayouts/slideLayout767.xml"/><Relationship Id="rId388" Type="http://schemas.openxmlformats.org/officeDocument/2006/relationships/slideLayout" Target="../slideLayouts/slideLayout809.xml"/><Relationship Id="rId85" Type="http://schemas.openxmlformats.org/officeDocument/2006/relationships/slideLayout" Target="../slideLayouts/slideLayout506.xml"/><Relationship Id="rId150" Type="http://schemas.openxmlformats.org/officeDocument/2006/relationships/slideLayout" Target="../slideLayouts/slideLayout571.xml"/><Relationship Id="rId192" Type="http://schemas.openxmlformats.org/officeDocument/2006/relationships/slideLayout" Target="../slideLayouts/slideLayout613.xml"/><Relationship Id="rId206" Type="http://schemas.openxmlformats.org/officeDocument/2006/relationships/slideLayout" Target="../slideLayouts/slideLayout627.xml"/><Relationship Id="rId413" Type="http://schemas.openxmlformats.org/officeDocument/2006/relationships/slideLayout" Target="../slideLayouts/slideLayout834.xml"/><Relationship Id="rId248" Type="http://schemas.openxmlformats.org/officeDocument/2006/relationships/slideLayout" Target="../slideLayouts/slideLayout669.xml"/><Relationship Id="rId455" Type="http://schemas.openxmlformats.org/officeDocument/2006/relationships/slideLayout" Target="../slideLayouts/slideLayout876.xml"/><Relationship Id="rId497" Type="http://schemas.openxmlformats.org/officeDocument/2006/relationships/slideLayout" Target="../slideLayouts/slideLayout918.xml"/><Relationship Id="rId12" Type="http://schemas.openxmlformats.org/officeDocument/2006/relationships/slideLayout" Target="../slideLayouts/slideLayout433.xml"/><Relationship Id="rId108" Type="http://schemas.openxmlformats.org/officeDocument/2006/relationships/slideLayout" Target="../slideLayouts/slideLayout529.xml"/><Relationship Id="rId315" Type="http://schemas.openxmlformats.org/officeDocument/2006/relationships/slideLayout" Target="../slideLayouts/slideLayout736.xml"/><Relationship Id="rId357" Type="http://schemas.openxmlformats.org/officeDocument/2006/relationships/slideLayout" Target="../slideLayouts/slideLayout778.xml"/><Relationship Id="rId54" Type="http://schemas.openxmlformats.org/officeDocument/2006/relationships/slideLayout" Target="../slideLayouts/slideLayout475.xml"/><Relationship Id="rId96" Type="http://schemas.openxmlformats.org/officeDocument/2006/relationships/slideLayout" Target="../slideLayouts/slideLayout517.xml"/><Relationship Id="rId161" Type="http://schemas.openxmlformats.org/officeDocument/2006/relationships/slideLayout" Target="../slideLayouts/slideLayout582.xml"/><Relationship Id="rId217" Type="http://schemas.openxmlformats.org/officeDocument/2006/relationships/slideLayout" Target="../slideLayouts/slideLayout638.xml"/><Relationship Id="rId399" Type="http://schemas.openxmlformats.org/officeDocument/2006/relationships/slideLayout" Target="../slideLayouts/slideLayout820.xml"/><Relationship Id="rId259" Type="http://schemas.openxmlformats.org/officeDocument/2006/relationships/slideLayout" Target="../slideLayouts/slideLayout680.xml"/><Relationship Id="rId424" Type="http://schemas.openxmlformats.org/officeDocument/2006/relationships/slideLayout" Target="../slideLayouts/slideLayout845.xml"/><Relationship Id="rId466" Type="http://schemas.openxmlformats.org/officeDocument/2006/relationships/slideLayout" Target="../slideLayouts/slideLayout887.xml"/><Relationship Id="rId23" Type="http://schemas.openxmlformats.org/officeDocument/2006/relationships/slideLayout" Target="../slideLayouts/slideLayout444.xml"/><Relationship Id="rId119" Type="http://schemas.openxmlformats.org/officeDocument/2006/relationships/slideLayout" Target="../slideLayouts/slideLayout540.xml"/><Relationship Id="rId270" Type="http://schemas.openxmlformats.org/officeDocument/2006/relationships/slideLayout" Target="../slideLayouts/slideLayout691.xml"/><Relationship Id="rId326" Type="http://schemas.openxmlformats.org/officeDocument/2006/relationships/slideLayout" Target="../slideLayouts/slideLayout747.xml"/><Relationship Id="rId65" Type="http://schemas.openxmlformats.org/officeDocument/2006/relationships/slideLayout" Target="../slideLayouts/slideLayout486.xml"/><Relationship Id="rId130" Type="http://schemas.openxmlformats.org/officeDocument/2006/relationships/slideLayout" Target="../slideLayouts/slideLayout551.xml"/><Relationship Id="rId368" Type="http://schemas.openxmlformats.org/officeDocument/2006/relationships/slideLayout" Target="../slideLayouts/slideLayout789.xml"/><Relationship Id="rId172" Type="http://schemas.openxmlformats.org/officeDocument/2006/relationships/slideLayout" Target="../slideLayouts/slideLayout593.xml"/><Relationship Id="rId228" Type="http://schemas.openxmlformats.org/officeDocument/2006/relationships/slideLayout" Target="../slideLayouts/slideLayout649.xml"/><Relationship Id="rId435" Type="http://schemas.openxmlformats.org/officeDocument/2006/relationships/slideLayout" Target="../slideLayouts/slideLayout856.xml"/><Relationship Id="rId477" Type="http://schemas.openxmlformats.org/officeDocument/2006/relationships/slideLayout" Target="../slideLayouts/slideLayout898.xml"/><Relationship Id="rId281" Type="http://schemas.openxmlformats.org/officeDocument/2006/relationships/slideLayout" Target="../slideLayouts/slideLayout702.xml"/><Relationship Id="rId337" Type="http://schemas.openxmlformats.org/officeDocument/2006/relationships/slideLayout" Target="../slideLayouts/slideLayout758.xml"/><Relationship Id="rId502" Type="http://schemas.openxmlformats.org/officeDocument/2006/relationships/slideLayout" Target="../slideLayouts/slideLayout923.xml"/><Relationship Id="rId34" Type="http://schemas.openxmlformats.org/officeDocument/2006/relationships/slideLayout" Target="../slideLayouts/slideLayout455.xml"/><Relationship Id="rId76" Type="http://schemas.openxmlformats.org/officeDocument/2006/relationships/slideLayout" Target="../slideLayouts/slideLayout497.xml"/><Relationship Id="rId141" Type="http://schemas.openxmlformats.org/officeDocument/2006/relationships/slideLayout" Target="../slideLayouts/slideLayout562.xml"/><Relationship Id="rId379" Type="http://schemas.openxmlformats.org/officeDocument/2006/relationships/slideLayout" Target="../slideLayouts/slideLayout800.xml"/><Relationship Id="rId7" Type="http://schemas.openxmlformats.org/officeDocument/2006/relationships/slideLayout" Target="../slideLayouts/slideLayout428.xml"/><Relationship Id="rId183" Type="http://schemas.openxmlformats.org/officeDocument/2006/relationships/slideLayout" Target="../slideLayouts/slideLayout604.xml"/><Relationship Id="rId239" Type="http://schemas.openxmlformats.org/officeDocument/2006/relationships/slideLayout" Target="../slideLayouts/slideLayout660.xml"/><Relationship Id="rId390" Type="http://schemas.openxmlformats.org/officeDocument/2006/relationships/slideLayout" Target="../slideLayouts/slideLayout811.xml"/><Relationship Id="rId404" Type="http://schemas.openxmlformats.org/officeDocument/2006/relationships/slideLayout" Target="../slideLayouts/slideLayout825.xml"/><Relationship Id="rId446" Type="http://schemas.openxmlformats.org/officeDocument/2006/relationships/slideLayout" Target="../slideLayouts/slideLayout867.xml"/><Relationship Id="rId250" Type="http://schemas.openxmlformats.org/officeDocument/2006/relationships/slideLayout" Target="../slideLayouts/slideLayout671.xml"/><Relationship Id="rId292" Type="http://schemas.openxmlformats.org/officeDocument/2006/relationships/slideLayout" Target="../slideLayouts/slideLayout713.xml"/><Relationship Id="rId306" Type="http://schemas.openxmlformats.org/officeDocument/2006/relationships/slideLayout" Target="../slideLayouts/slideLayout727.xml"/><Relationship Id="rId488" Type="http://schemas.openxmlformats.org/officeDocument/2006/relationships/slideLayout" Target="../slideLayouts/slideLayout909.xml"/><Relationship Id="rId45" Type="http://schemas.openxmlformats.org/officeDocument/2006/relationships/slideLayout" Target="../slideLayouts/slideLayout466.xml"/><Relationship Id="rId87" Type="http://schemas.openxmlformats.org/officeDocument/2006/relationships/slideLayout" Target="../slideLayouts/slideLayout508.xml"/><Relationship Id="rId110" Type="http://schemas.openxmlformats.org/officeDocument/2006/relationships/slideLayout" Target="../slideLayouts/slideLayout531.xml"/><Relationship Id="rId348" Type="http://schemas.openxmlformats.org/officeDocument/2006/relationships/slideLayout" Target="../slideLayouts/slideLayout769.xml"/><Relationship Id="rId152" Type="http://schemas.openxmlformats.org/officeDocument/2006/relationships/slideLayout" Target="../slideLayouts/slideLayout573.xml"/><Relationship Id="rId194" Type="http://schemas.openxmlformats.org/officeDocument/2006/relationships/slideLayout" Target="../slideLayouts/slideLayout615.xml"/><Relationship Id="rId208" Type="http://schemas.openxmlformats.org/officeDocument/2006/relationships/slideLayout" Target="../slideLayouts/slideLayout629.xml"/><Relationship Id="rId415" Type="http://schemas.openxmlformats.org/officeDocument/2006/relationships/slideLayout" Target="../slideLayouts/slideLayout836.xml"/><Relationship Id="rId457" Type="http://schemas.openxmlformats.org/officeDocument/2006/relationships/slideLayout" Target="../slideLayouts/slideLayout878.xml"/><Relationship Id="rId261" Type="http://schemas.openxmlformats.org/officeDocument/2006/relationships/slideLayout" Target="../slideLayouts/slideLayout682.xml"/><Relationship Id="rId499" Type="http://schemas.openxmlformats.org/officeDocument/2006/relationships/slideLayout" Target="../slideLayouts/slideLayout920.xml"/><Relationship Id="rId14" Type="http://schemas.openxmlformats.org/officeDocument/2006/relationships/slideLayout" Target="../slideLayouts/slideLayout435.xml"/><Relationship Id="rId56" Type="http://schemas.openxmlformats.org/officeDocument/2006/relationships/slideLayout" Target="../slideLayouts/slideLayout477.xml"/><Relationship Id="rId317" Type="http://schemas.openxmlformats.org/officeDocument/2006/relationships/slideLayout" Target="../slideLayouts/slideLayout738.xml"/><Relationship Id="rId359" Type="http://schemas.openxmlformats.org/officeDocument/2006/relationships/slideLayout" Target="../slideLayouts/slideLayout780.xml"/><Relationship Id="rId98" Type="http://schemas.openxmlformats.org/officeDocument/2006/relationships/slideLayout" Target="../slideLayouts/slideLayout519.xml"/><Relationship Id="rId121" Type="http://schemas.openxmlformats.org/officeDocument/2006/relationships/slideLayout" Target="../slideLayouts/slideLayout542.xml"/><Relationship Id="rId163" Type="http://schemas.openxmlformats.org/officeDocument/2006/relationships/slideLayout" Target="../slideLayouts/slideLayout584.xml"/><Relationship Id="rId219" Type="http://schemas.openxmlformats.org/officeDocument/2006/relationships/slideLayout" Target="../slideLayouts/slideLayout640.xml"/><Relationship Id="rId370" Type="http://schemas.openxmlformats.org/officeDocument/2006/relationships/slideLayout" Target="../slideLayouts/slideLayout791.xml"/><Relationship Id="rId426" Type="http://schemas.openxmlformats.org/officeDocument/2006/relationships/slideLayout" Target="../slideLayouts/slideLayout847.xml"/><Relationship Id="rId230" Type="http://schemas.openxmlformats.org/officeDocument/2006/relationships/slideLayout" Target="../slideLayouts/slideLayout651.xml"/><Relationship Id="rId468" Type="http://schemas.openxmlformats.org/officeDocument/2006/relationships/slideLayout" Target="../slideLayouts/slideLayout889.xml"/><Relationship Id="rId25" Type="http://schemas.openxmlformats.org/officeDocument/2006/relationships/slideLayout" Target="../slideLayouts/slideLayout446.xml"/><Relationship Id="rId67" Type="http://schemas.openxmlformats.org/officeDocument/2006/relationships/slideLayout" Target="../slideLayouts/slideLayout488.xml"/><Relationship Id="rId272" Type="http://schemas.openxmlformats.org/officeDocument/2006/relationships/slideLayout" Target="../slideLayouts/slideLayout693.xml"/><Relationship Id="rId328" Type="http://schemas.openxmlformats.org/officeDocument/2006/relationships/slideLayout" Target="../slideLayouts/slideLayout749.xml"/><Relationship Id="rId132" Type="http://schemas.openxmlformats.org/officeDocument/2006/relationships/slideLayout" Target="../slideLayouts/slideLayout553.xml"/><Relationship Id="rId174" Type="http://schemas.openxmlformats.org/officeDocument/2006/relationships/slideLayout" Target="../slideLayouts/slideLayout595.xml"/><Relationship Id="rId381" Type="http://schemas.openxmlformats.org/officeDocument/2006/relationships/slideLayout" Target="../slideLayouts/slideLayout802.xml"/><Relationship Id="rId241" Type="http://schemas.openxmlformats.org/officeDocument/2006/relationships/slideLayout" Target="../slideLayouts/slideLayout662.xml"/><Relationship Id="rId437" Type="http://schemas.openxmlformats.org/officeDocument/2006/relationships/slideLayout" Target="../slideLayouts/slideLayout858.xml"/><Relationship Id="rId479" Type="http://schemas.openxmlformats.org/officeDocument/2006/relationships/slideLayout" Target="../slideLayouts/slideLayout900.xml"/><Relationship Id="rId36" Type="http://schemas.openxmlformats.org/officeDocument/2006/relationships/slideLayout" Target="../slideLayouts/slideLayout457.xml"/><Relationship Id="rId283" Type="http://schemas.openxmlformats.org/officeDocument/2006/relationships/slideLayout" Target="../slideLayouts/slideLayout704.xml"/><Relationship Id="rId339" Type="http://schemas.openxmlformats.org/officeDocument/2006/relationships/slideLayout" Target="../slideLayouts/slideLayout760.xml"/><Relationship Id="rId490" Type="http://schemas.openxmlformats.org/officeDocument/2006/relationships/slideLayout" Target="../slideLayouts/slideLayout911.xml"/><Relationship Id="rId504" Type="http://schemas.openxmlformats.org/officeDocument/2006/relationships/slideLayout" Target="../slideLayouts/slideLayout925.xml"/><Relationship Id="rId78" Type="http://schemas.openxmlformats.org/officeDocument/2006/relationships/slideLayout" Target="../slideLayouts/slideLayout499.xml"/><Relationship Id="rId101" Type="http://schemas.openxmlformats.org/officeDocument/2006/relationships/slideLayout" Target="../slideLayouts/slideLayout522.xml"/><Relationship Id="rId143" Type="http://schemas.openxmlformats.org/officeDocument/2006/relationships/slideLayout" Target="../slideLayouts/slideLayout564.xml"/><Relationship Id="rId185" Type="http://schemas.openxmlformats.org/officeDocument/2006/relationships/slideLayout" Target="../slideLayouts/slideLayout606.xml"/><Relationship Id="rId350" Type="http://schemas.openxmlformats.org/officeDocument/2006/relationships/slideLayout" Target="../slideLayouts/slideLayout771.xml"/><Relationship Id="rId406" Type="http://schemas.openxmlformats.org/officeDocument/2006/relationships/slideLayout" Target="../slideLayouts/slideLayout827.xml"/><Relationship Id="rId9" Type="http://schemas.openxmlformats.org/officeDocument/2006/relationships/slideLayout" Target="../slideLayouts/slideLayout430.xml"/><Relationship Id="rId210" Type="http://schemas.openxmlformats.org/officeDocument/2006/relationships/slideLayout" Target="../slideLayouts/slideLayout631.xml"/><Relationship Id="rId392" Type="http://schemas.openxmlformats.org/officeDocument/2006/relationships/slideLayout" Target="../slideLayouts/slideLayout813.xml"/><Relationship Id="rId448" Type="http://schemas.openxmlformats.org/officeDocument/2006/relationships/slideLayout" Target="../slideLayouts/slideLayout869.xml"/><Relationship Id="rId252" Type="http://schemas.openxmlformats.org/officeDocument/2006/relationships/slideLayout" Target="../slideLayouts/slideLayout673.xml"/><Relationship Id="rId294" Type="http://schemas.openxmlformats.org/officeDocument/2006/relationships/slideLayout" Target="../slideLayouts/slideLayout715.xml"/><Relationship Id="rId308" Type="http://schemas.openxmlformats.org/officeDocument/2006/relationships/slideLayout" Target="../slideLayouts/slideLayout729.xml"/><Relationship Id="rId47" Type="http://schemas.openxmlformats.org/officeDocument/2006/relationships/slideLayout" Target="../slideLayouts/slideLayout468.xml"/><Relationship Id="rId89" Type="http://schemas.openxmlformats.org/officeDocument/2006/relationships/slideLayout" Target="../slideLayouts/slideLayout510.xml"/><Relationship Id="rId112" Type="http://schemas.openxmlformats.org/officeDocument/2006/relationships/slideLayout" Target="../slideLayouts/slideLayout533.xml"/><Relationship Id="rId154" Type="http://schemas.openxmlformats.org/officeDocument/2006/relationships/slideLayout" Target="../slideLayouts/slideLayout575.xml"/><Relationship Id="rId361" Type="http://schemas.openxmlformats.org/officeDocument/2006/relationships/slideLayout" Target="../slideLayouts/slideLayout782.xml"/><Relationship Id="rId196" Type="http://schemas.openxmlformats.org/officeDocument/2006/relationships/slideLayout" Target="../slideLayouts/slideLayout617.xml"/><Relationship Id="rId417" Type="http://schemas.openxmlformats.org/officeDocument/2006/relationships/slideLayout" Target="../slideLayouts/slideLayout838.xml"/><Relationship Id="rId459" Type="http://schemas.openxmlformats.org/officeDocument/2006/relationships/slideLayout" Target="../slideLayouts/slideLayout880.xml"/><Relationship Id="rId16" Type="http://schemas.openxmlformats.org/officeDocument/2006/relationships/slideLayout" Target="../slideLayouts/slideLayout437.xml"/><Relationship Id="rId221" Type="http://schemas.openxmlformats.org/officeDocument/2006/relationships/slideLayout" Target="../slideLayouts/slideLayout642.xml"/><Relationship Id="rId263" Type="http://schemas.openxmlformats.org/officeDocument/2006/relationships/slideLayout" Target="../slideLayouts/slideLayout684.xml"/><Relationship Id="rId319" Type="http://schemas.openxmlformats.org/officeDocument/2006/relationships/slideLayout" Target="../slideLayouts/slideLayout740.xml"/><Relationship Id="rId470" Type="http://schemas.openxmlformats.org/officeDocument/2006/relationships/slideLayout" Target="../slideLayouts/slideLayout891.xml"/><Relationship Id="rId58" Type="http://schemas.openxmlformats.org/officeDocument/2006/relationships/slideLayout" Target="../slideLayouts/slideLayout479.xml"/><Relationship Id="rId123" Type="http://schemas.openxmlformats.org/officeDocument/2006/relationships/slideLayout" Target="../slideLayouts/slideLayout544.xml"/><Relationship Id="rId330" Type="http://schemas.openxmlformats.org/officeDocument/2006/relationships/slideLayout" Target="../slideLayouts/slideLayout751.xml"/><Relationship Id="rId165" Type="http://schemas.openxmlformats.org/officeDocument/2006/relationships/slideLayout" Target="../slideLayouts/slideLayout586.xml"/><Relationship Id="rId372" Type="http://schemas.openxmlformats.org/officeDocument/2006/relationships/slideLayout" Target="../slideLayouts/slideLayout793.xml"/><Relationship Id="rId428" Type="http://schemas.openxmlformats.org/officeDocument/2006/relationships/slideLayout" Target="../slideLayouts/slideLayout849.xml"/><Relationship Id="rId232" Type="http://schemas.openxmlformats.org/officeDocument/2006/relationships/slideLayout" Target="../slideLayouts/slideLayout653.xml"/><Relationship Id="rId274" Type="http://schemas.openxmlformats.org/officeDocument/2006/relationships/slideLayout" Target="../slideLayouts/slideLayout695.xml"/><Relationship Id="rId481" Type="http://schemas.openxmlformats.org/officeDocument/2006/relationships/slideLayout" Target="../slideLayouts/slideLayout902.xml"/><Relationship Id="rId27" Type="http://schemas.openxmlformats.org/officeDocument/2006/relationships/slideLayout" Target="../slideLayouts/slideLayout448.xml"/><Relationship Id="rId69" Type="http://schemas.openxmlformats.org/officeDocument/2006/relationships/slideLayout" Target="../slideLayouts/slideLayout490.xml"/><Relationship Id="rId134" Type="http://schemas.openxmlformats.org/officeDocument/2006/relationships/slideLayout" Target="../slideLayouts/slideLayout555.xml"/><Relationship Id="rId80" Type="http://schemas.openxmlformats.org/officeDocument/2006/relationships/slideLayout" Target="../slideLayouts/slideLayout501.xml"/><Relationship Id="rId176" Type="http://schemas.openxmlformats.org/officeDocument/2006/relationships/slideLayout" Target="../slideLayouts/slideLayout597.xml"/><Relationship Id="rId341" Type="http://schemas.openxmlformats.org/officeDocument/2006/relationships/slideLayout" Target="../slideLayouts/slideLayout762.xml"/><Relationship Id="rId383" Type="http://schemas.openxmlformats.org/officeDocument/2006/relationships/slideLayout" Target="../slideLayouts/slideLayout804.xml"/><Relationship Id="rId439" Type="http://schemas.openxmlformats.org/officeDocument/2006/relationships/slideLayout" Target="../slideLayouts/slideLayout860.xml"/><Relationship Id="rId201" Type="http://schemas.openxmlformats.org/officeDocument/2006/relationships/slideLayout" Target="../slideLayouts/slideLayout622.xml"/><Relationship Id="rId243" Type="http://schemas.openxmlformats.org/officeDocument/2006/relationships/slideLayout" Target="../slideLayouts/slideLayout664.xml"/><Relationship Id="rId285" Type="http://schemas.openxmlformats.org/officeDocument/2006/relationships/slideLayout" Target="../slideLayouts/slideLayout706.xml"/><Relationship Id="rId450" Type="http://schemas.openxmlformats.org/officeDocument/2006/relationships/slideLayout" Target="../slideLayouts/slideLayout871.xml"/><Relationship Id="rId506" Type="http://schemas.openxmlformats.org/officeDocument/2006/relationships/slideLayout" Target="../slideLayouts/slideLayout927.xml"/><Relationship Id="rId38" Type="http://schemas.openxmlformats.org/officeDocument/2006/relationships/slideLayout" Target="../slideLayouts/slideLayout459.xml"/><Relationship Id="rId103" Type="http://schemas.openxmlformats.org/officeDocument/2006/relationships/slideLayout" Target="../slideLayouts/slideLayout524.xml"/><Relationship Id="rId310" Type="http://schemas.openxmlformats.org/officeDocument/2006/relationships/slideLayout" Target="../slideLayouts/slideLayout731.xml"/><Relationship Id="rId492" Type="http://schemas.openxmlformats.org/officeDocument/2006/relationships/slideLayout" Target="../slideLayouts/slideLayout913.xml"/><Relationship Id="rId91" Type="http://schemas.openxmlformats.org/officeDocument/2006/relationships/slideLayout" Target="../slideLayouts/slideLayout512.xml"/><Relationship Id="rId145" Type="http://schemas.openxmlformats.org/officeDocument/2006/relationships/slideLayout" Target="../slideLayouts/slideLayout566.xml"/><Relationship Id="rId187" Type="http://schemas.openxmlformats.org/officeDocument/2006/relationships/slideLayout" Target="../slideLayouts/slideLayout608.xml"/><Relationship Id="rId352" Type="http://schemas.openxmlformats.org/officeDocument/2006/relationships/slideLayout" Target="../slideLayouts/slideLayout773.xml"/><Relationship Id="rId394" Type="http://schemas.openxmlformats.org/officeDocument/2006/relationships/slideLayout" Target="../slideLayouts/slideLayout815.xml"/><Relationship Id="rId408" Type="http://schemas.openxmlformats.org/officeDocument/2006/relationships/slideLayout" Target="../slideLayouts/slideLayout829.xml"/><Relationship Id="rId212" Type="http://schemas.openxmlformats.org/officeDocument/2006/relationships/slideLayout" Target="../slideLayouts/slideLayout633.xml"/><Relationship Id="rId254" Type="http://schemas.openxmlformats.org/officeDocument/2006/relationships/slideLayout" Target="../slideLayouts/slideLayout675.xml"/><Relationship Id="rId49" Type="http://schemas.openxmlformats.org/officeDocument/2006/relationships/slideLayout" Target="../slideLayouts/slideLayout470.xml"/><Relationship Id="rId114" Type="http://schemas.openxmlformats.org/officeDocument/2006/relationships/slideLayout" Target="../slideLayouts/slideLayout535.xml"/><Relationship Id="rId296" Type="http://schemas.openxmlformats.org/officeDocument/2006/relationships/slideLayout" Target="../slideLayouts/slideLayout717.xml"/><Relationship Id="rId461" Type="http://schemas.openxmlformats.org/officeDocument/2006/relationships/slideLayout" Target="../slideLayouts/slideLayout882.xml"/><Relationship Id="rId60" Type="http://schemas.openxmlformats.org/officeDocument/2006/relationships/slideLayout" Target="../slideLayouts/slideLayout481.xml"/><Relationship Id="rId156" Type="http://schemas.openxmlformats.org/officeDocument/2006/relationships/slideLayout" Target="../slideLayouts/slideLayout577.xml"/><Relationship Id="rId198" Type="http://schemas.openxmlformats.org/officeDocument/2006/relationships/slideLayout" Target="../slideLayouts/slideLayout619.xml"/><Relationship Id="rId321" Type="http://schemas.openxmlformats.org/officeDocument/2006/relationships/slideLayout" Target="../slideLayouts/slideLayout742.xml"/><Relationship Id="rId363" Type="http://schemas.openxmlformats.org/officeDocument/2006/relationships/slideLayout" Target="../slideLayouts/slideLayout784.xml"/><Relationship Id="rId419" Type="http://schemas.openxmlformats.org/officeDocument/2006/relationships/slideLayout" Target="../slideLayouts/slideLayout840.xml"/><Relationship Id="rId223" Type="http://schemas.openxmlformats.org/officeDocument/2006/relationships/slideLayout" Target="../slideLayouts/slideLayout644.xml"/><Relationship Id="rId430" Type="http://schemas.openxmlformats.org/officeDocument/2006/relationships/slideLayout" Target="../slideLayouts/slideLayout851.xml"/><Relationship Id="rId18" Type="http://schemas.openxmlformats.org/officeDocument/2006/relationships/slideLayout" Target="../slideLayouts/slideLayout439.xml"/><Relationship Id="rId265" Type="http://schemas.openxmlformats.org/officeDocument/2006/relationships/slideLayout" Target="../slideLayouts/slideLayout686.xml"/><Relationship Id="rId472" Type="http://schemas.openxmlformats.org/officeDocument/2006/relationships/slideLayout" Target="../slideLayouts/slideLayout893.xml"/><Relationship Id="rId125" Type="http://schemas.openxmlformats.org/officeDocument/2006/relationships/slideLayout" Target="../slideLayouts/slideLayout546.xml"/><Relationship Id="rId167" Type="http://schemas.openxmlformats.org/officeDocument/2006/relationships/slideLayout" Target="../slideLayouts/slideLayout588.xml"/><Relationship Id="rId332" Type="http://schemas.openxmlformats.org/officeDocument/2006/relationships/slideLayout" Target="../slideLayouts/slideLayout753.xml"/><Relationship Id="rId374" Type="http://schemas.openxmlformats.org/officeDocument/2006/relationships/slideLayout" Target="../slideLayouts/slideLayout795.xml"/><Relationship Id="rId71" Type="http://schemas.openxmlformats.org/officeDocument/2006/relationships/slideLayout" Target="../slideLayouts/slideLayout492.xml"/><Relationship Id="rId234" Type="http://schemas.openxmlformats.org/officeDocument/2006/relationships/slideLayout" Target="../slideLayouts/slideLayout655.xml"/><Relationship Id="rId2" Type="http://schemas.openxmlformats.org/officeDocument/2006/relationships/slideLayout" Target="../slideLayouts/slideLayout423.xml"/><Relationship Id="rId29" Type="http://schemas.openxmlformats.org/officeDocument/2006/relationships/slideLayout" Target="../slideLayouts/slideLayout450.xml"/><Relationship Id="rId276" Type="http://schemas.openxmlformats.org/officeDocument/2006/relationships/slideLayout" Target="../slideLayouts/slideLayout697.xml"/><Relationship Id="rId441" Type="http://schemas.openxmlformats.org/officeDocument/2006/relationships/slideLayout" Target="../slideLayouts/slideLayout862.xml"/><Relationship Id="rId483" Type="http://schemas.openxmlformats.org/officeDocument/2006/relationships/slideLayout" Target="../slideLayouts/slideLayout904.xml"/><Relationship Id="rId40" Type="http://schemas.openxmlformats.org/officeDocument/2006/relationships/slideLayout" Target="../slideLayouts/slideLayout461.xml"/><Relationship Id="rId136" Type="http://schemas.openxmlformats.org/officeDocument/2006/relationships/slideLayout" Target="../slideLayouts/slideLayout557.xml"/><Relationship Id="rId178" Type="http://schemas.openxmlformats.org/officeDocument/2006/relationships/slideLayout" Target="../slideLayouts/slideLayout599.xml"/><Relationship Id="rId301" Type="http://schemas.openxmlformats.org/officeDocument/2006/relationships/slideLayout" Target="../slideLayouts/slideLayout722.xml"/><Relationship Id="rId343" Type="http://schemas.openxmlformats.org/officeDocument/2006/relationships/slideLayout" Target="../slideLayouts/slideLayout764.xml"/><Relationship Id="rId82" Type="http://schemas.openxmlformats.org/officeDocument/2006/relationships/slideLayout" Target="../slideLayouts/slideLayout503.xml"/><Relationship Id="rId203" Type="http://schemas.openxmlformats.org/officeDocument/2006/relationships/slideLayout" Target="../slideLayouts/slideLayout624.xml"/><Relationship Id="rId385" Type="http://schemas.openxmlformats.org/officeDocument/2006/relationships/slideLayout" Target="../slideLayouts/slideLayout806.xml"/><Relationship Id="rId245" Type="http://schemas.openxmlformats.org/officeDocument/2006/relationships/slideLayout" Target="../slideLayouts/slideLayout666.xml"/><Relationship Id="rId287" Type="http://schemas.openxmlformats.org/officeDocument/2006/relationships/slideLayout" Target="../slideLayouts/slideLayout708.xml"/><Relationship Id="rId410" Type="http://schemas.openxmlformats.org/officeDocument/2006/relationships/slideLayout" Target="../slideLayouts/slideLayout831.xml"/><Relationship Id="rId452" Type="http://schemas.openxmlformats.org/officeDocument/2006/relationships/slideLayout" Target="../slideLayouts/slideLayout873.xml"/><Relationship Id="rId494" Type="http://schemas.openxmlformats.org/officeDocument/2006/relationships/slideLayout" Target="../slideLayouts/slideLayout915.xml"/><Relationship Id="rId105" Type="http://schemas.openxmlformats.org/officeDocument/2006/relationships/slideLayout" Target="../slideLayouts/slideLayout526.xml"/><Relationship Id="rId147" Type="http://schemas.openxmlformats.org/officeDocument/2006/relationships/slideLayout" Target="../slideLayouts/slideLayout568.xml"/><Relationship Id="rId312" Type="http://schemas.openxmlformats.org/officeDocument/2006/relationships/slideLayout" Target="../slideLayouts/slideLayout733.xml"/><Relationship Id="rId354" Type="http://schemas.openxmlformats.org/officeDocument/2006/relationships/slideLayout" Target="../slideLayouts/slideLayout775.xml"/><Relationship Id="rId51" Type="http://schemas.openxmlformats.org/officeDocument/2006/relationships/slideLayout" Target="../slideLayouts/slideLayout472.xml"/><Relationship Id="rId93" Type="http://schemas.openxmlformats.org/officeDocument/2006/relationships/slideLayout" Target="../slideLayouts/slideLayout514.xml"/><Relationship Id="rId189" Type="http://schemas.openxmlformats.org/officeDocument/2006/relationships/slideLayout" Target="../slideLayouts/slideLayout610.xml"/><Relationship Id="rId396" Type="http://schemas.openxmlformats.org/officeDocument/2006/relationships/slideLayout" Target="../slideLayouts/slideLayout817.xml"/><Relationship Id="rId214" Type="http://schemas.openxmlformats.org/officeDocument/2006/relationships/slideLayout" Target="../slideLayouts/slideLayout635.xml"/><Relationship Id="rId256" Type="http://schemas.openxmlformats.org/officeDocument/2006/relationships/slideLayout" Target="../slideLayouts/slideLayout677.xml"/><Relationship Id="rId298" Type="http://schemas.openxmlformats.org/officeDocument/2006/relationships/slideLayout" Target="../slideLayouts/slideLayout719.xml"/><Relationship Id="rId421" Type="http://schemas.openxmlformats.org/officeDocument/2006/relationships/slideLayout" Target="../slideLayouts/slideLayout842.xml"/><Relationship Id="rId463" Type="http://schemas.openxmlformats.org/officeDocument/2006/relationships/slideLayout" Target="../slideLayouts/slideLayout884.xml"/><Relationship Id="rId116" Type="http://schemas.openxmlformats.org/officeDocument/2006/relationships/slideLayout" Target="../slideLayouts/slideLayout537.xml"/><Relationship Id="rId158" Type="http://schemas.openxmlformats.org/officeDocument/2006/relationships/slideLayout" Target="../slideLayouts/slideLayout579.xml"/><Relationship Id="rId323" Type="http://schemas.openxmlformats.org/officeDocument/2006/relationships/slideLayout" Target="../slideLayouts/slideLayout744.xml"/><Relationship Id="rId20" Type="http://schemas.openxmlformats.org/officeDocument/2006/relationships/slideLayout" Target="../slideLayouts/slideLayout441.xml"/><Relationship Id="rId62" Type="http://schemas.openxmlformats.org/officeDocument/2006/relationships/slideLayout" Target="../slideLayouts/slideLayout483.xml"/><Relationship Id="rId365" Type="http://schemas.openxmlformats.org/officeDocument/2006/relationships/slideLayout" Target="../slideLayouts/slideLayout786.xml"/><Relationship Id="rId225" Type="http://schemas.openxmlformats.org/officeDocument/2006/relationships/slideLayout" Target="../slideLayouts/slideLayout646.xml"/><Relationship Id="rId267" Type="http://schemas.openxmlformats.org/officeDocument/2006/relationships/slideLayout" Target="../slideLayouts/slideLayout688.xml"/><Relationship Id="rId432" Type="http://schemas.openxmlformats.org/officeDocument/2006/relationships/slideLayout" Target="../slideLayouts/slideLayout853.xml"/><Relationship Id="rId474" Type="http://schemas.openxmlformats.org/officeDocument/2006/relationships/slideLayout" Target="../slideLayouts/slideLayout895.xml"/><Relationship Id="rId127" Type="http://schemas.openxmlformats.org/officeDocument/2006/relationships/slideLayout" Target="../slideLayouts/slideLayout548.xml"/><Relationship Id="rId31" Type="http://schemas.openxmlformats.org/officeDocument/2006/relationships/slideLayout" Target="../slideLayouts/slideLayout452.xml"/><Relationship Id="rId73" Type="http://schemas.openxmlformats.org/officeDocument/2006/relationships/slideLayout" Target="../slideLayouts/slideLayout494.xml"/><Relationship Id="rId169" Type="http://schemas.openxmlformats.org/officeDocument/2006/relationships/slideLayout" Target="../slideLayouts/slideLayout590.xml"/><Relationship Id="rId334" Type="http://schemas.openxmlformats.org/officeDocument/2006/relationships/slideLayout" Target="../slideLayouts/slideLayout755.xml"/><Relationship Id="rId376" Type="http://schemas.openxmlformats.org/officeDocument/2006/relationships/slideLayout" Target="../slideLayouts/slideLayout797.xml"/><Relationship Id="rId4" Type="http://schemas.openxmlformats.org/officeDocument/2006/relationships/slideLayout" Target="../slideLayouts/slideLayout425.xml"/><Relationship Id="rId180" Type="http://schemas.openxmlformats.org/officeDocument/2006/relationships/slideLayout" Target="../slideLayouts/slideLayout601.xml"/><Relationship Id="rId215" Type="http://schemas.openxmlformats.org/officeDocument/2006/relationships/slideLayout" Target="../slideLayouts/slideLayout636.xml"/><Relationship Id="rId236" Type="http://schemas.openxmlformats.org/officeDocument/2006/relationships/slideLayout" Target="../slideLayouts/slideLayout657.xml"/><Relationship Id="rId257" Type="http://schemas.openxmlformats.org/officeDocument/2006/relationships/slideLayout" Target="../slideLayouts/slideLayout678.xml"/><Relationship Id="rId278" Type="http://schemas.openxmlformats.org/officeDocument/2006/relationships/slideLayout" Target="../slideLayouts/slideLayout699.xml"/><Relationship Id="rId401" Type="http://schemas.openxmlformats.org/officeDocument/2006/relationships/slideLayout" Target="../slideLayouts/slideLayout822.xml"/><Relationship Id="rId422" Type="http://schemas.openxmlformats.org/officeDocument/2006/relationships/slideLayout" Target="../slideLayouts/slideLayout843.xml"/><Relationship Id="rId443" Type="http://schemas.openxmlformats.org/officeDocument/2006/relationships/slideLayout" Target="../slideLayouts/slideLayout864.xml"/><Relationship Id="rId464" Type="http://schemas.openxmlformats.org/officeDocument/2006/relationships/slideLayout" Target="../slideLayouts/slideLayout885.xml"/><Relationship Id="rId303" Type="http://schemas.openxmlformats.org/officeDocument/2006/relationships/slideLayout" Target="../slideLayouts/slideLayout724.xml"/><Relationship Id="rId485" Type="http://schemas.openxmlformats.org/officeDocument/2006/relationships/slideLayout" Target="../slideLayouts/slideLayout906.xml"/><Relationship Id="rId42" Type="http://schemas.openxmlformats.org/officeDocument/2006/relationships/slideLayout" Target="../slideLayouts/slideLayout463.xml"/><Relationship Id="rId84" Type="http://schemas.openxmlformats.org/officeDocument/2006/relationships/slideLayout" Target="../slideLayouts/slideLayout505.xml"/><Relationship Id="rId138" Type="http://schemas.openxmlformats.org/officeDocument/2006/relationships/slideLayout" Target="../slideLayouts/slideLayout559.xml"/><Relationship Id="rId345" Type="http://schemas.openxmlformats.org/officeDocument/2006/relationships/slideLayout" Target="../slideLayouts/slideLayout766.xml"/><Relationship Id="rId387" Type="http://schemas.openxmlformats.org/officeDocument/2006/relationships/slideLayout" Target="../slideLayouts/slideLayout808.xml"/><Relationship Id="rId191" Type="http://schemas.openxmlformats.org/officeDocument/2006/relationships/slideLayout" Target="../slideLayouts/slideLayout612.xml"/><Relationship Id="rId205" Type="http://schemas.openxmlformats.org/officeDocument/2006/relationships/slideLayout" Target="../slideLayouts/slideLayout626.xml"/><Relationship Id="rId247" Type="http://schemas.openxmlformats.org/officeDocument/2006/relationships/slideLayout" Target="../slideLayouts/slideLayout668.xml"/><Relationship Id="rId412" Type="http://schemas.openxmlformats.org/officeDocument/2006/relationships/slideLayout" Target="../slideLayouts/slideLayout833.xml"/><Relationship Id="rId107" Type="http://schemas.openxmlformats.org/officeDocument/2006/relationships/slideLayout" Target="../slideLayouts/slideLayout528.xml"/><Relationship Id="rId289" Type="http://schemas.openxmlformats.org/officeDocument/2006/relationships/slideLayout" Target="../slideLayouts/slideLayout710.xml"/><Relationship Id="rId454" Type="http://schemas.openxmlformats.org/officeDocument/2006/relationships/slideLayout" Target="../slideLayouts/slideLayout875.xml"/><Relationship Id="rId496" Type="http://schemas.openxmlformats.org/officeDocument/2006/relationships/slideLayout" Target="../slideLayouts/slideLayout917.xml"/><Relationship Id="rId11" Type="http://schemas.openxmlformats.org/officeDocument/2006/relationships/slideLayout" Target="../slideLayouts/slideLayout432.xml"/><Relationship Id="rId53" Type="http://schemas.openxmlformats.org/officeDocument/2006/relationships/slideLayout" Target="../slideLayouts/slideLayout474.xml"/><Relationship Id="rId149" Type="http://schemas.openxmlformats.org/officeDocument/2006/relationships/slideLayout" Target="../slideLayouts/slideLayout570.xml"/><Relationship Id="rId314" Type="http://schemas.openxmlformats.org/officeDocument/2006/relationships/slideLayout" Target="../slideLayouts/slideLayout735.xml"/><Relationship Id="rId356" Type="http://schemas.openxmlformats.org/officeDocument/2006/relationships/slideLayout" Target="../slideLayouts/slideLayout777.xml"/><Relationship Id="rId398" Type="http://schemas.openxmlformats.org/officeDocument/2006/relationships/slideLayout" Target="../slideLayouts/slideLayout819.xml"/><Relationship Id="rId95" Type="http://schemas.openxmlformats.org/officeDocument/2006/relationships/slideLayout" Target="../slideLayouts/slideLayout516.xml"/><Relationship Id="rId160" Type="http://schemas.openxmlformats.org/officeDocument/2006/relationships/slideLayout" Target="../slideLayouts/slideLayout581.xml"/><Relationship Id="rId216" Type="http://schemas.openxmlformats.org/officeDocument/2006/relationships/slideLayout" Target="../slideLayouts/slideLayout637.xml"/><Relationship Id="rId423" Type="http://schemas.openxmlformats.org/officeDocument/2006/relationships/slideLayout" Target="../slideLayouts/slideLayout844.xml"/><Relationship Id="rId258" Type="http://schemas.openxmlformats.org/officeDocument/2006/relationships/slideLayout" Target="../slideLayouts/slideLayout679.xml"/><Relationship Id="rId465" Type="http://schemas.openxmlformats.org/officeDocument/2006/relationships/slideLayout" Target="../slideLayouts/slideLayout886.xml"/><Relationship Id="rId22" Type="http://schemas.openxmlformats.org/officeDocument/2006/relationships/slideLayout" Target="../slideLayouts/slideLayout443.xml"/><Relationship Id="rId64" Type="http://schemas.openxmlformats.org/officeDocument/2006/relationships/slideLayout" Target="../slideLayouts/slideLayout485.xml"/><Relationship Id="rId118" Type="http://schemas.openxmlformats.org/officeDocument/2006/relationships/slideLayout" Target="../slideLayouts/slideLayout539.xml"/><Relationship Id="rId325" Type="http://schemas.openxmlformats.org/officeDocument/2006/relationships/slideLayout" Target="../slideLayouts/slideLayout746.xml"/><Relationship Id="rId367" Type="http://schemas.openxmlformats.org/officeDocument/2006/relationships/slideLayout" Target="../slideLayouts/slideLayout788.xml"/><Relationship Id="rId171" Type="http://schemas.openxmlformats.org/officeDocument/2006/relationships/slideLayout" Target="../slideLayouts/slideLayout592.xml"/><Relationship Id="rId227" Type="http://schemas.openxmlformats.org/officeDocument/2006/relationships/slideLayout" Target="../slideLayouts/slideLayout648.xml"/><Relationship Id="rId269" Type="http://schemas.openxmlformats.org/officeDocument/2006/relationships/slideLayout" Target="../slideLayouts/slideLayout690.xml"/><Relationship Id="rId434" Type="http://schemas.openxmlformats.org/officeDocument/2006/relationships/slideLayout" Target="../slideLayouts/slideLayout855.xml"/><Relationship Id="rId476" Type="http://schemas.openxmlformats.org/officeDocument/2006/relationships/slideLayout" Target="../slideLayouts/slideLayout897.xml"/><Relationship Id="rId33" Type="http://schemas.openxmlformats.org/officeDocument/2006/relationships/slideLayout" Target="../slideLayouts/slideLayout454.xml"/><Relationship Id="rId129" Type="http://schemas.openxmlformats.org/officeDocument/2006/relationships/slideLayout" Target="../slideLayouts/slideLayout550.xml"/><Relationship Id="rId280" Type="http://schemas.openxmlformats.org/officeDocument/2006/relationships/slideLayout" Target="../slideLayouts/slideLayout701.xml"/><Relationship Id="rId336" Type="http://schemas.openxmlformats.org/officeDocument/2006/relationships/slideLayout" Target="../slideLayouts/slideLayout757.xml"/><Relationship Id="rId501" Type="http://schemas.openxmlformats.org/officeDocument/2006/relationships/slideLayout" Target="../slideLayouts/slideLayout922.xml"/><Relationship Id="rId75" Type="http://schemas.openxmlformats.org/officeDocument/2006/relationships/slideLayout" Target="../slideLayouts/slideLayout496.xml"/><Relationship Id="rId140" Type="http://schemas.openxmlformats.org/officeDocument/2006/relationships/slideLayout" Target="../slideLayouts/slideLayout561.xml"/><Relationship Id="rId182" Type="http://schemas.openxmlformats.org/officeDocument/2006/relationships/slideLayout" Target="../slideLayouts/slideLayout603.xml"/><Relationship Id="rId378" Type="http://schemas.openxmlformats.org/officeDocument/2006/relationships/slideLayout" Target="../slideLayouts/slideLayout799.xml"/><Relationship Id="rId403" Type="http://schemas.openxmlformats.org/officeDocument/2006/relationships/slideLayout" Target="../slideLayouts/slideLayout824.xml"/><Relationship Id="rId6" Type="http://schemas.openxmlformats.org/officeDocument/2006/relationships/slideLayout" Target="../slideLayouts/slideLayout427.xml"/><Relationship Id="rId238" Type="http://schemas.openxmlformats.org/officeDocument/2006/relationships/slideLayout" Target="../slideLayouts/slideLayout659.xml"/><Relationship Id="rId445" Type="http://schemas.openxmlformats.org/officeDocument/2006/relationships/slideLayout" Target="../slideLayouts/slideLayout866.xml"/><Relationship Id="rId487" Type="http://schemas.openxmlformats.org/officeDocument/2006/relationships/slideLayout" Target="../slideLayouts/slideLayout908.xml"/><Relationship Id="rId291" Type="http://schemas.openxmlformats.org/officeDocument/2006/relationships/slideLayout" Target="../slideLayouts/slideLayout712.xml"/><Relationship Id="rId305" Type="http://schemas.openxmlformats.org/officeDocument/2006/relationships/slideLayout" Target="../slideLayouts/slideLayout726.xml"/><Relationship Id="rId347" Type="http://schemas.openxmlformats.org/officeDocument/2006/relationships/slideLayout" Target="../slideLayouts/slideLayout768.xml"/><Relationship Id="rId44" Type="http://schemas.openxmlformats.org/officeDocument/2006/relationships/slideLayout" Target="../slideLayouts/slideLayout465.xml"/><Relationship Id="rId86" Type="http://schemas.openxmlformats.org/officeDocument/2006/relationships/slideLayout" Target="../slideLayouts/slideLayout507.xml"/><Relationship Id="rId151" Type="http://schemas.openxmlformats.org/officeDocument/2006/relationships/slideLayout" Target="../slideLayouts/slideLayout572.xml"/><Relationship Id="rId389" Type="http://schemas.openxmlformats.org/officeDocument/2006/relationships/slideLayout" Target="../slideLayouts/slideLayout810.xml"/><Relationship Id="rId193" Type="http://schemas.openxmlformats.org/officeDocument/2006/relationships/slideLayout" Target="../slideLayouts/slideLayout614.xml"/><Relationship Id="rId207" Type="http://schemas.openxmlformats.org/officeDocument/2006/relationships/slideLayout" Target="../slideLayouts/slideLayout628.xml"/><Relationship Id="rId249" Type="http://schemas.openxmlformats.org/officeDocument/2006/relationships/slideLayout" Target="../slideLayouts/slideLayout670.xml"/><Relationship Id="rId414" Type="http://schemas.openxmlformats.org/officeDocument/2006/relationships/slideLayout" Target="../slideLayouts/slideLayout835.xml"/><Relationship Id="rId456" Type="http://schemas.openxmlformats.org/officeDocument/2006/relationships/slideLayout" Target="../slideLayouts/slideLayout877.xml"/><Relationship Id="rId498" Type="http://schemas.openxmlformats.org/officeDocument/2006/relationships/slideLayout" Target="../slideLayouts/slideLayout919.xml"/><Relationship Id="rId13" Type="http://schemas.openxmlformats.org/officeDocument/2006/relationships/slideLayout" Target="../slideLayouts/slideLayout434.xml"/><Relationship Id="rId109" Type="http://schemas.openxmlformats.org/officeDocument/2006/relationships/slideLayout" Target="../slideLayouts/slideLayout530.xml"/><Relationship Id="rId260" Type="http://schemas.openxmlformats.org/officeDocument/2006/relationships/slideLayout" Target="../slideLayouts/slideLayout681.xml"/><Relationship Id="rId316" Type="http://schemas.openxmlformats.org/officeDocument/2006/relationships/slideLayout" Target="../slideLayouts/slideLayout737.xml"/><Relationship Id="rId55" Type="http://schemas.openxmlformats.org/officeDocument/2006/relationships/slideLayout" Target="../slideLayouts/slideLayout476.xml"/><Relationship Id="rId97" Type="http://schemas.openxmlformats.org/officeDocument/2006/relationships/slideLayout" Target="../slideLayouts/slideLayout518.xml"/><Relationship Id="rId120" Type="http://schemas.openxmlformats.org/officeDocument/2006/relationships/slideLayout" Target="../slideLayouts/slideLayout541.xml"/><Relationship Id="rId358" Type="http://schemas.openxmlformats.org/officeDocument/2006/relationships/slideLayout" Target="../slideLayouts/slideLayout779.xml"/><Relationship Id="rId162" Type="http://schemas.openxmlformats.org/officeDocument/2006/relationships/slideLayout" Target="../slideLayouts/slideLayout583.xml"/><Relationship Id="rId218" Type="http://schemas.openxmlformats.org/officeDocument/2006/relationships/slideLayout" Target="../slideLayouts/slideLayout639.xml"/><Relationship Id="rId425" Type="http://schemas.openxmlformats.org/officeDocument/2006/relationships/slideLayout" Target="../slideLayouts/slideLayout846.xml"/><Relationship Id="rId467" Type="http://schemas.openxmlformats.org/officeDocument/2006/relationships/slideLayout" Target="../slideLayouts/slideLayout888.xml"/><Relationship Id="rId271" Type="http://schemas.openxmlformats.org/officeDocument/2006/relationships/slideLayout" Target="../slideLayouts/slideLayout692.xml"/><Relationship Id="rId24" Type="http://schemas.openxmlformats.org/officeDocument/2006/relationships/slideLayout" Target="../slideLayouts/slideLayout445.xml"/><Relationship Id="rId66" Type="http://schemas.openxmlformats.org/officeDocument/2006/relationships/slideLayout" Target="../slideLayouts/slideLayout487.xml"/><Relationship Id="rId131" Type="http://schemas.openxmlformats.org/officeDocument/2006/relationships/slideLayout" Target="../slideLayouts/slideLayout552.xml"/><Relationship Id="rId327" Type="http://schemas.openxmlformats.org/officeDocument/2006/relationships/slideLayout" Target="../slideLayouts/slideLayout748.xml"/><Relationship Id="rId369" Type="http://schemas.openxmlformats.org/officeDocument/2006/relationships/slideLayout" Target="../slideLayouts/slideLayout790.xml"/><Relationship Id="rId173" Type="http://schemas.openxmlformats.org/officeDocument/2006/relationships/slideLayout" Target="../slideLayouts/slideLayout594.xml"/><Relationship Id="rId229" Type="http://schemas.openxmlformats.org/officeDocument/2006/relationships/slideLayout" Target="../slideLayouts/slideLayout650.xml"/><Relationship Id="rId380" Type="http://schemas.openxmlformats.org/officeDocument/2006/relationships/slideLayout" Target="../slideLayouts/slideLayout801.xml"/><Relationship Id="rId436" Type="http://schemas.openxmlformats.org/officeDocument/2006/relationships/slideLayout" Target="../slideLayouts/slideLayout857.xml"/><Relationship Id="rId240" Type="http://schemas.openxmlformats.org/officeDocument/2006/relationships/slideLayout" Target="../slideLayouts/slideLayout661.xml"/><Relationship Id="rId478" Type="http://schemas.openxmlformats.org/officeDocument/2006/relationships/slideLayout" Target="../slideLayouts/slideLayout899.xml"/><Relationship Id="rId35" Type="http://schemas.openxmlformats.org/officeDocument/2006/relationships/slideLayout" Target="../slideLayouts/slideLayout456.xml"/><Relationship Id="rId77" Type="http://schemas.openxmlformats.org/officeDocument/2006/relationships/slideLayout" Target="../slideLayouts/slideLayout498.xml"/><Relationship Id="rId100" Type="http://schemas.openxmlformats.org/officeDocument/2006/relationships/slideLayout" Target="../slideLayouts/slideLayout521.xml"/><Relationship Id="rId282" Type="http://schemas.openxmlformats.org/officeDocument/2006/relationships/slideLayout" Target="../slideLayouts/slideLayout703.xml"/><Relationship Id="rId338" Type="http://schemas.openxmlformats.org/officeDocument/2006/relationships/slideLayout" Target="../slideLayouts/slideLayout759.xml"/><Relationship Id="rId503" Type="http://schemas.openxmlformats.org/officeDocument/2006/relationships/slideLayout" Target="../slideLayouts/slideLayout924.xml"/><Relationship Id="rId8" Type="http://schemas.openxmlformats.org/officeDocument/2006/relationships/slideLayout" Target="../slideLayouts/slideLayout429.xml"/><Relationship Id="rId142" Type="http://schemas.openxmlformats.org/officeDocument/2006/relationships/slideLayout" Target="../slideLayouts/slideLayout563.xml"/><Relationship Id="rId184" Type="http://schemas.openxmlformats.org/officeDocument/2006/relationships/slideLayout" Target="../slideLayouts/slideLayout605.xml"/><Relationship Id="rId391" Type="http://schemas.openxmlformats.org/officeDocument/2006/relationships/slideLayout" Target="../slideLayouts/slideLayout812.xml"/><Relationship Id="rId405" Type="http://schemas.openxmlformats.org/officeDocument/2006/relationships/slideLayout" Target="../slideLayouts/slideLayout826.xml"/><Relationship Id="rId447" Type="http://schemas.openxmlformats.org/officeDocument/2006/relationships/slideLayout" Target="../slideLayouts/slideLayout868.xml"/><Relationship Id="rId251" Type="http://schemas.openxmlformats.org/officeDocument/2006/relationships/slideLayout" Target="../slideLayouts/slideLayout672.xml"/><Relationship Id="rId489" Type="http://schemas.openxmlformats.org/officeDocument/2006/relationships/slideLayout" Target="../slideLayouts/slideLayout910.xml"/><Relationship Id="rId46" Type="http://schemas.openxmlformats.org/officeDocument/2006/relationships/slideLayout" Target="../slideLayouts/slideLayout467.xml"/><Relationship Id="rId293" Type="http://schemas.openxmlformats.org/officeDocument/2006/relationships/slideLayout" Target="../slideLayouts/slideLayout714.xml"/><Relationship Id="rId307" Type="http://schemas.openxmlformats.org/officeDocument/2006/relationships/slideLayout" Target="../slideLayouts/slideLayout728.xml"/><Relationship Id="rId349" Type="http://schemas.openxmlformats.org/officeDocument/2006/relationships/slideLayout" Target="../slideLayouts/slideLayout770.xml"/><Relationship Id="rId88" Type="http://schemas.openxmlformats.org/officeDocument/2006/relationships/slideLayout" Target="../slideLayouts/slideLayout509.xml"/><Relationship Id="rId111" Type="http://schemas.openxmlformats.org/officeDocument/2006/relationships/slideLayout" Target="../slideLayouts/slideLayout532.xml"/><Relationship Id="rId153" Type="http://schemas.openxmlformats.org/officeDocument/2006/relationships/slideLayout" Target="../slideLayouts/slideLayout574.xml"/><Relationship Id="rId195" Type="http://schemas.openxmlformats.org/officeDocument/2006/relationships/slideLayout" Target="../slideLayouts/slideLayout616.xml"/><Relationship Id="rId209" Type="http://schemas.openxmlformats.org/officeDocument/2006/relationships/slideLayout" Target="../slideLayouts/slideLayout630.xml"/><Relationship Id="rId360" Type="http://schemas.openxmlformats.org/officeDocument/2006/relationships/slideLayout" Target="../slideLayouts/slideLayout781.xml"/><Relationship Id="rId416" Type="http://schemas.openxmlformats.org/officeDocument/2006/relationships/slideLayout" Target="../slideLayouts/slideLayout837.xml"/><Relationship Id="rId220" Type="http://schemas.openxmlformats.org/officeDocument/2006/relationships/slideLayout" Target="../slideLayouts/slideLayout641.xml"/><Relationship Id="rId458" Type="http://schemas.openxmlformats.org/officeDocument/2006/relationships/slideLayout" Target="../slideLayouts/slideLayout879.xml"/><Relationship Id="rId15" Type="http://schemas.openxmlformats.org/officeDocument/2006/relationships/slideLayout" Target="../slideLayouts/slideLayout436.xml"/><Relationship Id="rId57" Type="http://schemas.openxmlformats.org/officeDocument/2006/relationships/slideLayout" Target="../slideLayouts/slideLayout478.xml"/><Relationship Id="rId262" Type="http://schemas.openxmlformats.org/officeDocument/2006/relationships/slideLayout" Target="../slideLayouts/slideLayout683.xml"/><Relationship Id="rId318" Type="http://schemas.openxmlformats.org/officeDocument/2006/relationships/slideLayout" Target="../slideLayouts/slideLayout739.xml"/><Relationship Id="rId99" Type="http://schemas.openxmlformats.org/officeDocument/2006/relationships/slideLayout" Target="../slideLayouts/slideLayout520.xml"/><Relationship Id="rId122" Type="http://schemas.openxmlformats.org/officeDocument/2006/relationships/slideLayout" Target="../slideLayouts/slideLayout543.xml"/><Relationship Id="rId164" Type="http://schemas.openxmlformats.org/officeDocument/2006/relationships/slideLayout" Target="../slideLayouts/slideLayout585.xml"/><Relationship Id="rId371" Type="http://schemas.openxmlformats.org/officeDocument/2006/relationships/slideLayout" Target="../slideLayouts/slideLayout792.xml"/><Relationship Id="rId427" Type="http://schemas.openxmlformats.org/officeDocument/2006/relationships/slideLayout" Target="../slideLayouts/slideLayout848.xml"/><Relationship Id="rId469" Type="http://schemas.openxmlformats.org/officeDocument/2006/relationships/slideLayout" Target="../slideLayouts/slideLayout890.xml"/><Relationship Id="rId26" Type="http://schemas.openxmlformats.org/officeDocument/2006/relationships/slideLayout" Target="../slideLayouts/slideLayout447.xml"/><Relationship Id="rId231" Type="http://schemas.openxmlformats.org/officeDocument/2006/relationships/slideLayout" Target="../slideLayouts/slideLayout652.xml"/><Relationship Id="rId273" Type="http://schemas.openxmlformats.org/officeDocument/2006/relationships/slideLayout" Target="../slideLayouts/slideLayout694.xml"/><Relationship Id="rId329" Type="http://schemas.openxmlformats.org/officeDocument/2006/relationships/slideLayout" Target="../slideLayouts/slideLayout750.xml"/><Relationship Id="rId480" Type="http://schemas.openxmlformats.org/officeDocument/2006/relationships/slideLayout" Target="../slideLayouts/slideLayout901.xml"/><Relationship Id="rId68" Type="http://schemas.openxmlformats.org/officeDocument/2006/relationships/slideLayout" Target="../slideLayouts/slideLayout489.xml"/><Relationship Id="rId133" Type="http://schemas.openxmlformats.org/officeDocument/2006/relationships/slideLayout" Target="../slideLayouts/slideLayout554.xml"/><Relationship Id="rId175" Type="http://schemas.openxmlformats.org/officeDocument/2006/relationships/slideLayout" Target="../slideLayouts/slideLayout596.xml"/><Relationship Id="rId340" Type="http://schemas.openxmlformats.org/officeDocument/2006/relationships/slideLayout" Target="../slideLayouts/slideLayout761.xml"/><Relationship Id="rId200" Type="http://schemas.openxmlformats.org/officeDocument/2006/relationships/slideLayout" Target="../slideLayouts/slideLayout621.xml"/><Relationship Id="rId382" Type="http://schemas.openxmlformats.org/officeDocument/2006/relationships/slideLayout" Target="../slideLayouts/slideLayout803.xml"/><Relationship Id="rId438" Type="http://schemas.openxmlformats.org/officeDocument/2006/relationships/slideLayout" Target="../slideLayouts/slideLayout859.xml"/><Relationship Id="rId242" Type="http://schemas.openxmlformats.org/officeDocument/2006/relationships/slideLayout" Target="../slideLayouts/slideLayout663.xml"/><Relationship Id="rId284" Type="http://schemas.openxmlformats.org/officeDocument/2006/relationships/slideLayout" Target="../slideLayouts/slideLayout705.xml"/><Relationship Id="rId491" Type="http://schemas.openxmlformats.org/officeDocument/2006/relationships/slideLayout" Target="../slideLayouts/slideLayout912.xml"/><Relationship Id="rId505" Type="http://schemas.openxmlformats.org/officeDocument/2006/relationships/slideLayout" Target="../slideLayouts/slideLayout926.xml"/><Relationship Id="rId37" Type="http://schemas.openxmlformats.org/officeDocument/2006/relationships/slideLayout" Target="../slideLayouts/slideLayout458.xml"/><Relationship Id="rId79" Type="http://schemas.openxmlformats.org/officeDocument/2006/relationships/slideLayout" Target="../slideLayouts/slideLayout500.xml"/><Relationship Id="rId102" Type="http://schemas.openxmlformats.org/officeDocument/2006/relationships/slideLayout" Target="../slideLayouts/slideLayout523.xml"/><Relationship Id="rId144" Type="http://schemas.openxmlformats.org/officeDocument/2006/relationships/slideLayout" Target="../slideLayouts/slideLayout565.xml"/><Relationship Id="rId90" Type="http://schemas.openxmlformats.org/officeDocument/2006/relationships/slideLayout" Target="../slideLayouts/slideLayout511.xml"/><Relationship Id="rId186" Type="http://schemas.openxmlformats.org/officeDocument/2006/relationships/slideLayout" Target="../slideLayouts/slideLayout607.xml"/><Relationship Id="rId351" Type="http://schemas.openxmlformats.org/officeDocument/2006/relationships/slideLayout" Target="../slideLayouts/slideLayout772.xml"/><Relationship Id="rId393" Type="http://schemas.openxmlformats.org/officeDocument/2006/relationships/slideLayout" Target="../slideLayouts/slideLayout814.xml"/><Relationship Id="rId407" Type="http://schemas.openxmlformats.org/officeDocument/2006/relationships/slideLayout" Target="../slideLayouts/slideLayout828.xml"/><Relationship Id="rId449" Type="http://schemas.openxmlformats.org/officeDocument/2006/relationships/slideLayout" Target="../slideLayouts/slideLayout870.xml"/><Relationship Id="rId211" Type="http://schemas.openxmlformats.org/officeDocument/2006/relationships/slideLayout" Target="../slideLayouts/slideLayout632.xml"/><Relationship Id="rId253" Type="http://schemas.openxmlformats.org/officeDocument/2006/relationships/slideLayout" Target="../slideLayouts/slideLayout674.xml"/><Relationship Id="rId295" Type="http://schemas.openxmlformats.org/officeDocument/2006/relationships/slideLayout" Target="../slideLayouts/slideLayout716.xml"/><Relationship Id="rId309" Type="http://schemas.openxmlformats.org/officeDocument/2006/relationships/slideLayout" Target="../slideLayouts/slideLayout730.xml"/><Relationship Id="rId460" Type="http://schemas.openxmlformats.org/officeDocument/2006/relationships/slideLayout" Target="../slideLayouts/slideLayout881.xml"/><Relationship Id="rId48" Type="http://schemas.openxmlformats.org/officeDocument/2006/relationships/slideLayout" Target="../slideLayouts/slideLayout469.xml"/><Relationship Id="rId113" Type="http://schemas.openxmlformats.org/officeDocument/2006/relationships/slideLayout" Target="../slideLayouts/slideLayout534.xml"/><Relationship Id="rId320" Type="http://schemas.openxmlformats.org/officeDocument/2006/relationships/slideLayout" Target="../slideLayouts/slideLayout741.xml"/><Relationship Id="rId155" Type="http://schemas.openxmlformats.org/officeDocument/2006/relationships/slideLayout" Target="../slideLayouts/slideLayout576.xml"/><Relationship Id="rId197" Type="http://schemas.openxmlformats.org/officeDocument/2006/relationships/slideLayout" Target="../slideLayouts/slideLayout618.xml"/><Relationship Id="rId362" Type="http://schemas.openxmlformats.org/officeDocument/2006/relationships/slideLayout" Target="../slideLayouts/slideLayout783.xml"/><Relationship Id="rId418" Type="http://schemas.openxmlformats.org/officeDocument/2006/relationships/slideLayout" Target="../slideLayouts/slideLayout839.xml"/><Relationship Id="rId222" Type="http://schemas.openxmlformats.org/officeDocument/2006/relationships/slideLayout" Target="../slideLayouts/slideLayout643.xml"/><Relationship Id="rId264" Type="http://schemas.openxmlformats.org/officeDocument/2006/relationships/slideLayout" Target="../slideLayouts/slideLayout685.xml"/><Relationship Id="rId471" Type="http://schemas.openxmlformats.org/officeDocument/2006/relationships/slideLayout" Target="../slideLayouts/slideLayout892.xml"/><Relationship Id="rId17" Type="http://schemas.openxmlformats.org/officeDocument/2006/relationships/slideLayout" Target="../slideLayouts/slideLayout438.xml"/><Relationship Id="rId59" Type="http://schemas.openxmlformats.org/officeDocument/2006/relationships/slideLayout" Target="../slideLayouts/slideLayout480.xml"/><Relationship Id="rId124" Type="http://schemas.openxmlformats.org/officeDocument/2006/relationships/slideLayout" Target="../slideLayouts/slideLayout545.xml"/><Relationship Id="rId70" Type="http://schemas.openxmlformats.org/officeDocument/2006/relationships/slideLayout" Target="../slideLayouts/slideLayout491.xml"/><Relationship Id="rId166" Type="http://schemas.openxmlformats.org/officeDocument/2006/relationships/slideLayout" Target="../slideLayouts/slideLayout587.xml"/><Relationship Id="rId331" Type="http://schemas.openxmlformats.org/officeDocument/2006/relationships/slideLayout" Target="../slideLayouts/slideLayout752.xml"/><Relationship Id="rId373" Type="http://schemas.openxmlformats.org/officeDocument/2006/relationships/slideLayout" Target="../slideLayouts/slideLayout794.xml"/><Relationship Id="rId429" Type="http://schemas.openxmlformats.org/officeDocument/2006/relationships/slideLayout" Target="../slideLayouts/slideLayout850.xml"/><Relationship Id="rId1" Type="http://schemas.openxmlformats.org/officeDocument/2006/relationships/slideLayout" Target="../slideLayouts/slideLayout422.xml"/><Relationship Id="rId233" Type="http://schemas.openxmlformats.org/officeDocument/2006/relationships/slideLayout" Target="../slideLayouts/slideLayout654.xml"/><Relationship Id="rId440" Type="http://schemas.openxmlformats.org/officeDocument/2006/relationships/slideLayout" Target="../slideLayouts/slideLayout861.xml"/><Relationship Id="rId28" Type="http://schemas.openxmlformats.org/officeDocument/2006/relationships/slideLayout" Target="../slideLayouts/slideLayout449.xml"/><Relationship Id="rId275" Type="http://schemas.openxmlformats.org/officeDocument/2006/relationships/slideLayout" Target="../slideLayouts/slideLayout696.xml"/><Relationship Id="rId300" Type="http://schemas.openxmlformats.org/officeDocument/2006/relationships/slideLayout" Target="../slideLayouts/slideLayout721.xml"/><Relationship Id="rId482" Type="http://schemas.openxmlformats.org/officeDocument/2006/relationships/slideLayout" Target="../slideLayouts/slideLayout903.xml"/><Relationship Id="rId81" Type="http://schemas.openxmlformats.org/officeDocument/2006/relationships/slideLayout" Target="../slideLayouts/slideLayout502.xml"/><Relationship Id="rId135" Type="http://schemas.openxmlformats.org/officeDocument/2006/relationships/slideLayout" Target="../slideLayouts/slideLayout556.xml"/><Relationship Id="rId177" Type="http://schemas.openxmlformats.org/officeDocument/2006/relationships/slideLayout" Target="../slideLayouts/slideLayout598.xml"/><Relationship Id="rId342" Type="http://schemas.openxmlformats.org/officeDocument/2006/relationships/slideLayout" Target="../slideLayouts/slideLayout763.xml"/><Relationship Id="rId384" Type="http://schemas.openxmlformats.org/officeDocument/2006/relationships/slideLayout" Target="../slideLayouts/slideLayout805.xml"/><Relationship Id="rId202" Type="http://schemas.openxmlformats.org/officeDocument/2006/relationships/slideLayout" Target="../slideLayouts/slideLayout623.xml"/><Relationship Id="rId244" Type="http://schemas.openxmlformats.org/officeDocument/2006/relationships/slideLayout" Target="../slideLayouts/slideLayout665.xml"/><Relationship Id="rId39" Type="http://schemas.openxmlformats.org/officeDocument/2006/relationships/slideLayout" Target="../slideLayouts/slideLayout460.xml"/><Relationship Id="rId286" Type="http://schemas.openxmlformats.org/officeDocument/2006/relationships/slideLayout" Target="../slideLayouts/slideLayout707.xml"/><Relationship Id="rId451" Type="http://schemas.openxmlformats.org/officeDocument/2006/relationships/slideLayout" Target="../slideLayouts/slideLayout872.xml"/><Relationship Id="rId493" Type="http://schemas.openxmlformats.org/officeDocument/2006/relationships/slideLayout" Target="../slideLayouts/slideLayout914.xml"/><Relationship Id="rId507" Type="http://schemas.openxmlformats.org/officeDocument/2006/relationships/theme" Target="../theme/theme3.xml"/><Relationship Id="rId50" Type="http://schemas.openxmlformats.org/officeDocument/2006/relationships/slideLayout" Target="../slideLayouts/slideLayout471.xml"/><Relationship Id="rId104" Type="http://schemas.openxmlformats.org/officeDocument/2006/relationships/slideLayout" Target="../slideLayouts/slideLayout525.xml"/><Relationship Id="rId146" Type="http://schemas.openxmlformats.org/officeDocument/2006/relationships/slideLayout" Target="../slideLayouts/slideLayout567.xml"/><Relationship Id="rId188" Type="http://schemas.openxmlformats.org/officeDocument/2006/relationships/slideLayout" Target="../slideLayouts/slideLayout609.xml"/><Relationship Id="rId311" Type="http://schemas.openxmlformats.org/officeDocument/2006/relationships/slideLayout" Target="../slideLayouts/slideLayout732.xml"/><Relationship Id="rId353" Type="http://schemas.openxmlformats.org/officeDocument/2006/relationships/slideLayout" Target="../slideLayouts/slideLayout774.xml"/><Relationship Id="rId395" Type="http://schemas.openxmlformats.org/officeDocument/2006/relationships/slideLayout" Target="../slideLayouts/slideLayout816.xml"/><Relationship Id="rId409" Type="http://schemas.openxmlformats.org/officeDocument/2006/relationships/slideLayout" Target="../slideLayouts/slideLayout830.xml"/><Relationship Id="rId92" Type="http://schemas.openxmlformats.org/officeDocument/2006/relationships/slideLayout" Target="../slideLayouts/slideLayout513.xml"/><Relationship Id="rId213" Type="http://schemas.openxmlformats.org/officeDocument/2006/relationships/slideLayout" Target="../slideLayouts/slideLayout634.xml"/><Relationship Id="rId420" Type="http://schemas.openxmlformats.org/officeDocument/2006/relationships/slideLayout" Target="../slideLayouts/slideLayout841.xml"/><Relationship Id="rId255" Type="http://schemas.openxmlformats.org/officeDocument/2006/relationships/slideLayout" Target="../slideLayouts/slideLayout676.xml"/><Relationship Id="rId297" Type="http://schemas.openxmlformats.org/officeDocument/2006/relationships/slideLayout" Target="../slideLayouts/slideLayout718.xml"/><Relationship Id="rId462" Type="http://schemas.openxmlformats.org/officeDocument/2006/relationships/slideLayout" Target="../slideLayouts/slideLayout883.xml"/><Relationship Id="rId115" Type="http://schemas.openxmlformats.org/officeDocument/2006/relationships/slideLayout" Target="../slideLayouts/slideLayout536.xml"/><Relationship Id="rId157" Type="http://schemas.openxmlformats.org/officeDocument/2006/relationships/slideLayout" Target="../slideLayouts/slideLayout578.xml"/><Relationship Id="rId322" Type="http://schemas.openxmlformats.org/officeDocument/2006/relationships/slideLayout" Target="../slideLayouts/slideLayout743.xml"/><Relationship Id="rId364" Type="http://schemas.openxmlformats.org/officeDocument/2006/relationships/slideLayout" Target="../slideLayouts/slideLayout785.xml"/><Relationship Id="rId61" Type="http://schemas.openxmlformats.org/officeDocument/2006/relationships/slideLayout" Target="../slideLayouts/slideLayout482.xml"/><Relationship Id="rId199" Type="http://schemas.openxmlformats.org/officeDocument/2006/relationships/slideLayout" Target="../slideLayouts/slideLayout620.xml"/><Relationship Id="rId19" Type="http://schemas.openxmlformats.org/officeDocument/2006/relationships/slideLayout" Target="../slideLayouts/slideLayout440.xml"/><Relationship Id="rId224" Type="http://schemas.openxmlformats.org/officeDocument/2006/relationships/slideLayout" Target="../slideLayouts/slideLayout645.xml"/><Relationship Id="rId266" Type="http://schemas.openxmlformats.org/officeDocument/2006/relationships/slideLayout" Target="../slideLayouts/slideLayout687.xml"/><Relationship Id="rId431" Type="http://schemas.openxmlformats.org/officeDocument/2006/relationships/slideLayout" Target="../slideLayouts/slideLayout852.xml"/><Relationship Id="rId473" Type="http://schemas.openxmlformats.org/officeDocument/2006/relationships/slideLayout" Target="../slideLayouts/slideLayout894.xml"/><Relationship Id="rId30" Type="http://schemas.openxmlformats.org/officeDocument/2006/relationships/slideLayout" Target="../slideLayouts/slideLayout451.xml"/><Relationship Id="rId126" Type="http://schemas.openxmlformats.org/officeDocument/2006/relationships/slideLayout" Target="../slideLayouts/slideLayout547.xml"/><Relationship Id="rId168" Type="http://schemas.openxmlformats.org/officeDocument/2006/relationships/slideLayout" Target="../slideLayouts/slideLayout589.xml"/><Relationship Id="rId333" Type="http://schemas.openxmlformats.org/officeDocument/2006/relationships/slideLayout" Target="../slideLayouts/slideLayout754.xml"/><Relationship Id="rId72" Type="http://schemas.openxmlformats.org/officeDocument/2006/relationships/slideLayout" Target="../slideLayouts/slideLayout493.xml"/><Relationship Id="rId375" Type="http://schemas.openxmlformats.org/officeDocument/2006/relationships/slideLayout" Target="../slideLayouts/slideLayout796.xml"/><Relationship Id="rId3" Type="http://schemas.openxmlformats.org/officeDocument/2006/relationships/slideLayout" Target="../slideLayouts/slideLayout424.xml"/><Relationship Id="rId235" Type="http://schemas.openxmlformats.org/officeDocument/2006/relationships/slideLayout" Target="../slideLayouts/slideLayout656.xml"/><Relationship Id="rId277" Type="http://schemas.openxmlformats.org/officeDocument/2006/relationships/slideLayout" Target="../slideLayouts/slideLayout698.xml"/><Relationship Id="rId400" Type="http://schemas.openxmlformats.org/officeDocument/2006/relationships/slideLayout" Target="../slideLayouts/slideLayout821.xml"/><Relationship Id="rId442" Type="http://schemas.openxmlformats.org/officeDocument/2006/relationships/slideLayout" Target="../slideLayouts/slideLayout863.xml"/><Relationship Id="rId484" Type="http://schemas.openxmlformats.org/officeDocument/2006/relationships/slideLayout" Target="../slideLayouts/slideLayout905.xml"/><Relationship Id="rId137" Type="http://schemas.openxmlformats.org/officeDocument/2006/relationships/slideLayout" Target="../slideLayouts/slideLayout558.xml"/><Relationship Id="rId302" Type="http://schemas.openxmlformats.org/officeDocument/2006/relationships/slideLayout" Target="../slideLayouts/slideLayout723.xml"/><Relationship Id="rId344" Type="http://schemas.openxmlformats.org/officeDocument/2006/relationships/slideLayout" Target="../slideLayouts/slideLayout765.xml"/><Relationship Id="rId41" Type="http://schemas.openxmlformats.org/officeDocument/2006/relationships/slideLayout" Target="../slideLayouts/slideLayout462.xml"/><Relationship Id="rId83" Type="http://schemas.openxmlformats.org/officeDocument/2006/relationships/slideLayout" Target="../slideLayouts/slideLayout504.xml"/><Relationship Id="rId179" Type="http://schemas.openxmlformats.org/officeDocument/2006/relationships/slideLayout" Target="../slideLayouts/slideLayout600.xml"/><Relationship Id="rId386" Type="http://schemas.openxmlformats.org/officeDocument/2006/relationships/slideLayout" Target="../slideLayouts/slideLayout807.xml"/><Relationship Id="rId190" Type="http://schemas.openxmlformats.org/officeDocument/2006/relationships/slideLayout" Target="../slideLayouts/slideLayout611.xml"/><Relationship Id="rId204" Type="http://schemas.openxmlformats.org/officeDocument/2006/relationships/slideLayout" Target="../slideLayouts/slideLayout625.xml"/><Relationship Id="rId246" Type="http://schemas.openxmlformats.org/officeDocument/2006/relationships/slideLayout" Target="../slideLayouts/slideLayout667.xml"/><Relationship Id="rId288" Type="http://schemas.openxmlformats.org/officeDocument/2006/relationships/slideLayout" Target="../slideLayouts/slideLayout709.xml"/><Relationship Id="rId411" Type="http://schemas.openxmlformats.org/officeDocument/2006/relationships/slideLayout" Target="../slideLayouts/slideLayout832.xml"/><Relationship Id="rId453" Type="http://schemas.openxmlformats.org/officeDocument/2006/relationships/slideLayout" Target="../slideLayouts/slideLayout874.xml"/><Relationship Id="rId106" Type="http://schemas.openxmlformats.org/officeDocument/2006/relationships/slideLayout" Target="../slideLayouts/slideLayout527.xml"/><Relationship Id="rId313" Type="http://schemas.openxmlformats.org/officeDocument/2006/relationships/slideLayout" Target="../slideLayouts/slideLayout734.xml"/><Relationship Id="rId495" Type="http://schemas.openxmlformats.org/officeDocument/2006/relationships/slideLayout" Target="../slideLayouts/slideLayout916.xml"/><Relationship Id="rId10" Type="http://schemas.openxmlformats.org/officeDocument/2006/relationships/slideLayout" Target="../slideLayouts/slideLayout431.xml"/><Relationship Id="rId52" Type="http://schemas.openxmlformats.org/officeDocument/2006/relationships/slideLayout" Target="../slideLayouts/slideLayout473.xml"/><Relationship Id="rId94" Type="http://schemas.openxmlformats.org/officeDocument/2006/relationships/slideLayout" Target="../slideLayouts/slideLayout515.xml"/><Relationship Id="rId148" Type="http://schemas.openxmlformats.org/officeDocument/2006/relationships/slideLayout" Target="../slideLayouts/slideLayout569.xml"/><Relationship Id="rId355" Type="http://schemas.openxmlformats.org/officeDocument/2006/relationships/slideLayout" Target="../slideLayouts/slideLayout776.xml"/><Relationship Id="rId397" Type="http://schemas.openxmlformats.org/officeDocument/2006/relationships/slideLayout" Target="../slideLayouts/slideLayout8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5.xml"/><Relationship Id="rId13" Type="http://schemas.openxmlformats.org/officeDocument/2006/relationships/slideLayout" Target="../slideLayouts/slideLayout940.xml"/><Relationship Id="rId18" Type="http://schemas.openxmlformats.org/officeDocument/2006/relationships/image" Target="../media/image69.jpg"/><Relationship Id="rId3" Type="http://schemas.openxmlformats.org/officeDocument/2006/relationships/slideLayout" Target="../slideLayouts/slideLayout930.xml"/><Relationship Id="rId7" Type="http://schemas.openxmlformats.org/officeDocument/2006/relationships/slideLayout" Target="../slideLayouts/slideLayout934.xml"/><Relationship Id="rId12" Type="http://schemas.openxmlformats.org/officeDocument/2006/relationships/slideLayout" Target="../slideLayouts/slideLayout939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929.xml"/><Relationship Id="rId16" Type="http://schemas.openxmlformats.org/officeDocument/2006/relationships/slideLayout" Target="../slideLayouts/slideLayout943.xml"/><Relationship Id="rId1" Type="http://schemas.openxmlformats.org/officeDocument/2006/relationships/slideLayout" Target="../slideLayouts/slideLayout928.xml"/><Relationship Id="rId6" Type="http://schemas.openxmlformats.org/officeDocument/2006/relationships/slideLayout" Target="../slideLayouts/slideLayout933.xml"/><Relationship Id="rId11" Type="http://schemas.openxmlformats.org/officeDocument/2006/relationships/slideLayout" Target="../slideLayouts/slideLayout938.xml"/><Relationship Id="rId5" Type="http://schemas.openxmlformats.org/officeDocument/2006/relationships/slideLayout" Target="../slideLayouts/slideLayout932.xml"/><Relationship Id="rId15" Type="http://schemas.openxmlformats.org/officeDocument/2006/relationships/slideLayout" Target="../slideLayouts/slideLayout942.xml"/><Relationship Id="rId10" Type="http://schemas.openxmlformats.org/officeDocument/2006/relationships/slideLayout" Target="../slideLayouts/slideLayout937.xml"/><Relationship Id="rId4" Type="http://schemas.openxmlformats.org/officeDocument/2006/relationships/slideLayout" Target="../slideLayouts/slideLayout931.xml"/><Relationship Id="rId9" Type="http://schemas.openxmlformats.org/officeDocument/2006/relationships/slideLayout" Target="../slideLayouts/slideLayout936.xml"/><Relationship Id="rId14" Type="http://schemas.openxmlformats.org/officeDocument/2006/relationships/slideLayout" Target="../slideLayouts/slideLayout941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60.xml"/><Relationship Id="rId21" Type="http://schemas.openxmlformats.org/officeDocument/2006/relationships/slideLayout" Target="../slideLayouts/slideLayout964.xml"/><Relationship Id="rId42" Type="http://schemas.openxmlformats.org/officeDocument/2006/relationships/slideLayout" Target="../slideLayouts/slideLayout985.xml"/><Relationship Id="rId63" Type="http://schemas.openxmlformats.org/officeDocument/2006/relationships/slideLayout" Target="../slideLayouts/slideLayout1006.xml"/><Relationship Id="rId84" Type="http://schemas.openxmlformats.org/officeDocument/2006/relationships/slideLayout" Target="../slideLayouts/slideLayout1027.xml"/><Relationship Id="rId138" Type="http://schemas.openxmlformats.org/officeDocument/2006/relationships/slideLayout" Target="../slideLayouts/slideLayout1081.xml"/><Relationship Id="rId159" Type="http://schemas.openxmlformats.org/officeDocument/2006/relationships/slideLayout" Target="../slideLayouts/slideLayout1102.xml"/><Relationship Id="rId170" Type="http://schemas.openxmlformats.org/officeDocument/2006/relationships/slideLayout" Target="../slideLayouts/slideLayout1113.xml"/><Relationship Id="rId191" Type="http://schemas.openxmlformats.org/officeDocument/2006/relationships/slideLayout" Target="../slideLayouts/slideLayout1134.xml"/><Relationship Id="rId205" Type="http://schemas.openxmlformats.org/officeDocument/2006/relationships/slideLayout" Target="../slideLayouts/slideLayout1148.xml"/><Relationship Id="rId226" Type="http://schemas.openxmlformats.org/officeDocument/2006/relationships/slideLayout" Target="../slideLayouts/slideLayout1169.xml"/><Relationship Id="rId107" Type="http://schemas.openxmlformats.org/officeDocument/2006/relationships/slideLayout" Target="../slideLayouts/slideLayout1050.xml"/><Relationship Id="rId11" Type="http://schemas.openxmlformats.org/officeDocument/2006/relationships/slideLayout" Target="../slideLayouts/slideLayout954.xml"/><Relationship Id="rId32" Type="http://schemas.openxmlformats.org/officeDocument/2006/relationships/slideLayout" Target="../slideLayouts/slideLayout975.xml"/><Relationship Id="rId53" Type="http://schemas.openxmlformats.org/officeDocument/2006/relationships/slideLayout" Target="../slideLayouts/slideLayout996.xml"/><Relationship Id="rId74" Type="http://schemas.openxmlformats.org/officeDocument/2006/relationships/slideLayout" Target="../slideLayouts/slideLayout1017.xml"/><Relationship Id="rId128" Type="http://schemas.openxmlformats.org/officeDocument/2006/relationships/slideLayout" Target="../slideLayouts/slideLayout1071.xml"/><Relationship Id="rId149" Type="http://schemas.openxmlformats.org/officeDocument/2006/relationships/slideLayout" Target="../slideLayouts/slideLayout1092.xml"/><Relationship Id="rId5" Type="http://schemas.openxmlformats.org/officeDocument/2006/relationships/slideLayout" Target="../slideLayouts/slideLayout948.xml"/><Relationship Id="rId95" Type="http://schemas.openxmlformats.org/officeDocument/2006/relationships/slideLayout" Target="../slideLayouts/slideLayout1038.xml"/><Relationship Id="rId160" Type="http://schemas.openxmlformats.org/officeDocument/2006/relationships/slideLayout" Target="../slideLayouts/slideLayout1103.xml"/><Relationship Id="rId181" Type="http://schemas.openxmlformats.org/officeDocument/2006/relationships/slideLayout" Target="../slideLayouts/slideLayout1124.xml"/><Relationship Id="rId216" Type="http://schemas.openxmlformats.org/officeDocument/2006/relationships/slideLayout" Target="../slideLayouts/slideLayout1159.xml"/><Relationship Id="rId22" Type="http://schemas.openxmlformats.org/officeDocument/2006/relationships/slideLayout" Target="../slideLayouts/slideLayout965.xml"/><Relationship Id="rId43" Type="http://schemas.openxmlformats.org/officeDocument/2006/relationships/slideLayout" Target="../slideLayouts/slideLayout986.xml"/><Relationship Id="rId64" Type="http://schemas.openxmlformats.org/officeDocument/2006/relationships/slideLayout" Target="../slideLayouts/slideLayout1007.xml"/><Relationship Id="rId118" Type="http://schemas.openxmlformats.org/officeDocument/2006/relationships/slideLayout" Target="../slideLayouts/slideLayout1061.xml"/><Relationship Id="rId139" Type="http://schemas.openxmlformats.org/officeDocument/2006/relationships/slideLayout" Target="../slideLayouts/slideLayout1082.xml"/><Relationship Id="rId85" Type="http://schemas.openxmlformats.org/officeDocument/2006/relationships/slideLayout" Target="../slideLayouts/slideLayout1028.xml"/><Relationship Id="rId150" Type="http://schemas.openxmlformats.org/officeDocument/2006/relationships/slideLayout" Target="../slideLayouts/slideLayout1093.xml"/><Relationship Id="rId171" Type="http://schemas.openxmlformats.org/officeDocument/2006/relationships/slideLayout" Target="../slideLayouts/slideLayout1114.xml"/><Relationship Id="rId192" Type="http://schemas.openxmlformats.org/officeDocument/2006/relationships/slideLayout" Target="../slideLayouts/slideLayout1135.xml"/><Relationship Id="rId206" Type="http://schemas.openxmlformats.org/officeDocument/2006/relationships/slideLayout" Target="../slideLayouts/slideLayout1149.xml"/><Relationship Id="rId227" Type="http://schemas.openxmlformats.org/officeDocument/2006/relationships/slideLayout" Target="../slideLayouts/slideLayout1170.xml"/><Relationship Id="rId12" Type="http://schemas.openxmlformats.org/officeDocument/2006/relationships/slideLayout" Target="../slideLayouts/slideLayout955.xml"/><Relationship Id="rId33" Type="http://schemas.openxmlformats.org/officeDocument/2006/relationships/slideLayout" Target="../slideLayouts/slideLayout976.xml"/><Relationship Id="rId108" Type="http://schemas.openxmlformats.org/officeDocument/2006/relationships/slideLayout" Target="../slideLayouts/slideLayout1051.xml"/><Relationship Id="rId129" Type="http://schemas.openxmlformats.org/officeDocument/2006/relationships/slideLayout" Target="../slideLayouts/slideLayout1072.xml"/><Relationship Id="rId54" Type="http://schemas.openxmlformats.org/officeDocument/2006/relationships/slideLayout" Target="../slideLayouts/slideLayout997.xml"/><Relationship Id="rId75" Type="http://schemas.openxmlformats.org/officeDocument/2006/relationships/slideLayout" Target="../slideLayouts/slideLayout1018.xml"/><Relationship Id="rId96" Type="http://schemas.openxmlformats.org/officeDocument/2006/relationships/slideLayout" Target="../slideLayouts/slideLayout1039.xml"/><Relationship Id="rId140" Type="http://schemas.openxmlformats.org/officeDocument/2006/relationships/slideLayout" Target="../slideLayouts/slideLayout1083.xml"/><Relationship Id="rId161" Type="http://schemas.openxmlformats.org/officeDocument/2006/relationships/slideLayout" Target="../slideLayouts/slideLayout1104.xml"/><Relationship Id="rId182" Type="http://schemas.openxmlformats.org/officeDocument/2006/relationships/slideLayout" Target="../slideLayouts/slideLayout1125.xml"/><Relationship Id="rId217" Type="http://schemas.openxmlformats.org/officeDocument/2006/relationships/slideLayout" Target="../slideLayouts/slideLayout1160.xml"/><Relationship Id="rId6" Type="http://schemas.openxmlformats.org/officeDocument/2006/relationships/slideLayout" Target="../slideLayouts/slideLayout949.xml"/><Relationship Id="rId23" Type="http://schemas.openxmlformats.org/officeDocument/2006/relationships/slideLayout" Target="../slideLayouts/slideLayout966.xml"/><Relationship Id="rId119" Type="http://schemas.openxmlformats.org/officeDocument/2006/relationships/slideLayout" Target="../slideLayouts/slideLayout1062.xml"/><Relationship Id="rId44" Type="http://schemas.openxmlformats.org/officeDocument/2006/relationships/slideLayout" Target="../slideLayouts/slideLayout987.xml"/><Relationship Id="rId65" Type="http://schemas.openxmlformats.org/officeDocument/2006/relationships/slideLayout" Target="../slideLayouts/slideLayout1008.xml"/><Relationship Id="rId86" Type="http://schemas.openxmlformats.org/officeDocument/2006/relationships/slideLayout" Target="../slideLayouts/slideLayout1029.xml"/><Relationship Id="rId130" Type="http://schemas.openxmlformats.org/officeDocument/2006/relationships/slideLayout" Target="../slideLayouts/slideLayout1073.xml"/><Relationship Id="rId151" Type="http://schemas.openxmlformats.org/officeDocument/2006/relationships/slideLayout" Target="../slideLayouts/slideLayout1094.xml"/><Relationship Id="rId172" Type="http://schemas.openxmlformats.org/officeDocument/2006/relationships/slideLayout" Target="../slideLayouts/slideLayout1115.xml"/><Relationship Id="rId193" Type="http://schemas.openxmlformats.org/officeDocument/2006/relationships/slideLayout" Target="../slideLayouts/slideLayout1136.xml"/><Relationship Id="rId207" Type="http://schemas.openxmlformats.org/officeDocument/2006/relationships/slideLayout" Target="../slideLayouts/slideLayout1150.xml"/><Relationship Id="rId228" Type="http://schemas.openxmlformats.org/officeDocument/2006/relationships/slideLayout" Target="../slideLayouts/slideLayout1171.xml"/><Relationship Id="rId13" Type="http://schemas.openxmlformats.org/officeDocument/2006/relationships/slideLayout" Target="../slideLayouts/slideLayout956.xml"/><Relationship Id="rId109" Type="http://schemas.openxmlformats.org/officeDocument/2006/relationships/slideLayout" Target="../slideLayouts/slideLayout1052.xml"/><Relationship Id="rId34" Type="http://schemas.openxmlformats.org/officeDocument/2006/relationships/slideLayout" Target="../slideLayouts/slideLayout977.xml"/><Relationship Id="rId55" Type="http://schemas.openxmlformats.org/officeDocument/2006/relationships/slideLayout" Target="../slideLayouts/slideLayout998.xml"/><Relationship Id="rId76" Type="http://schemas.openxmlformats.org/officeDocument/2006/relationships/slideLayout" Target="../slideLayouts/slideLayout1019.xml"/><Relationship Id="rId97" Type="http://schemas.openxmlformats.org/officeDocument/2006/relationships/slideLayout" Target="../slideLayouts/slideLayout1040.xml"/><Relationship Id="rId120" Type="http://schemas.openxmlformats.org/officeDocument/2006/relationships/slideLayout" Target="../slideLayouts/slideLayout1063.xml"/><Relationship Id="rId141" Type="http://schemas.openxmlformats.org/officeDocument/2006/relationships/slideLayout" Target="../slideLayouts/slideLayout1084.xml"/><Relationship Id="rId7" Type="http://schemas.openxmlformats.org/officeDocument/2006/relationships/slideLayout" Target="../slideLayouts/slideLayout950.xml"/><Relationship Id="rId162" Type="http://schemas.openxmlformats.org/officeDocument/2006/relationships/slideLayout" Target="../slideLayouts/slideLayout1105.xml"/><Relationship Id="rId183" Type="http://schemas.openxmlformats.org/officeDocument/2006/relationships/slideLayout" Target="../slideLayouts/slideLayout1126.xml"/><Relationship Id="rId218" Type="http://schemas.openxmlformats.org/officeDocument/2006/relationships/slideLayout" Target="../slideLayouts/slideLayout1161.xml"/><Relationship Id="rId24" Type="http://schemas.openxmlformats.org/officeDocument/2006/relationships/slideLayout" Target="../slideLayouts/slideLayout967.xml"/><Relationship Id="rId45" Type="http://schemas.openxmlformats.org/officeDocument/2006/relationships/slideLayout" Target="../slideLayouts/slideLayout988.xml"/><Relationship Id="rId66" Type="http://schemas.openxmlformats.org/officeDocument/2006/relationships/slideLayout" Target="../slideLayouts/slideLayout1009.xml"/><Relationship Id="rId87" Type="http://schemas.openxmlformats.org/officeDocument/2006/relationships/slideLayout" Target="../slideLayouts/slideLayout1030.xml"/><Relationship Id="rId110" Type="http://schemas.openxmlformats.org/officeDocument/2006/relationships/slideLayout" Target="../slideLayouts/slideLayout1053.xml"/><Relationship Id="rId131" Type="http://schemas.openxmlformats.org/officeDocument/2006/relationships/slideLayout" Target="../slideLayouts/slideLayout1074.xml"/><Relationship Id="rId152" Type="http://schemas.openxmlformats.org/officeDocument/2006/relationships/slideLayout" Target="../slideLayouts/slideLayout1095.xml"/><Relationship Id="rId173" Type="http://schemas.openxmlformats.org/officeDocument/2006/relationships/slideLayout" Target="../slideLayouts/slideLayout1116.xml"/><Relationship Id="rId194" Type="http://schemas.openxmlformats.org/officeDocument/2006/relationships/slideLayout" Target="../slideLayouts/slideLayout1137.xml"/><Relationship Id="rId208" Type="http://schemas.openxmlformats.org/officeDocument/2006/relationships/slideLayout" Target="../slideLayouts/slideLayout1151.xml"/><Relationship Id="rId229" Type="http://schemas.openxmlformats.org/officeDocument/2006/relationships/slideLayout" Target="../slideLayouts/slideLayout1172.xml"/><Relationship Id="rId14" Type="http://schemas.openxmlformats.org/officeDocument/2006/relationships/slideLayout" Target="../slideLayouts/slideLayout957.xml"/><Relationship Id="rId35" Type="http://schemas.openxmlformats.org/officeDocument/2006/relationships/slideLayout" Target="../slideLayouts/slideLayout978.xml"/><Relationship Id="rId56" Type="http://schemas.openxmlformats.org/officeDocument/2006/relationships/slideLayout" Target="../slideLayouts/slideLayout999.xml"/><Relationship Id="rId77" Type="http://schemas.openxmlformats.org/officeDocument/2006/relationships/slideLayout" Target="../slideLayouts/slideLayout1020.xml"/><Relationship Id="rId100" Type="http://schemas.openxmlformats.org/officeDocument/2006/relationships/slideLayout" Target="../slideLayouts/slideLayout1043.xml"/><Relationship Id="rId8" Type="http://schemas.openxmlformats.org/officeDocument/2006/relationships/slideLayout" Target="../slideLayouts/slideLayout951.xml"/><Relationship Id="rId98" Type="http://schemas.openxmlformats.org/officeDocument/2006/relationships/slideLayout" Target="../slideLayouts/slideLayout1041.xml"/><Relationship Id="rId121" Type="http://schemas.openxmlformats.org/officeDocument/2006/relationships/slideLayout" Target="../slideLayouts/slideLayout1064.xml"/><Relationship Id="rId142" Type="http://schemas.openxmlformats.org/officeDocument/2006/relationships/slideLayout" Target="../slideLayouts/slideLayout1085.xml"/><Relationship Id="rId163" Type="http://schemas.openxmlformats.org/officeDocument/2006/relationships/slideLayout" Target="../slideLayouts/slideLayout1106.xml"/><Relationship Id="rId184" Type="http://schemas.openxmlformats.org/officeDocument/2006/relationships/slideLayout" Target="../slideLayouts/slideLayout1127.xml"/><Relationship Id="rId219" Type="http://schemas.openxmlformats.org/officeDocument/2006/relationships/slideLayout" Target="../slideLayouts/slideLayout1162.xml"/><Relationship Id="rId230" Type="http://schemas.openxmlformats.org/officeDocument/2006/relationships/slideLayout" Target="../slideLayouts/slideLayout1173.xml"/><Relationship Id="rId25" Type="http://schemas.openxmlformats.org/officeDocument/2006/relationships/slideLayout" Target="../slideLayouts/slideLayout968.xml"/><Relationship Id="rId46" Type="http://schemas.openxmlformats.org/officeDocument/2006/relationships/slideLayout" Target="../slideLayouts/slideLayout989.xml"/><Relationship Id="rId67" Type="http://schemas.openxmlformats.org/officeDocument/2006/relationships/slideLayout" Target="../slideLayouts/slideLayout1010.xml"/><Relationship Id="rId20" Type="http://schemas.openxmlformats.org/officeDocument/2006/relationships/slideLayout" Target="../slideLayouts/slideLayout963.xml"/><Relationship Id="rId41" Type="http://schemas.openxmlformats.org/officeDocument/2006/relationships/slideLayout" Target="../slideLayouts/slideLayout984.xml"/><Relationship Id="rId62" Type="http://schemas.openxmlformats.org/officeDocument/2006/relationships/slideLayout" Target="../slideLayouts/slideLayout1005.xml"/><Relationship Id="rId83" Type="http://schemas.openxmlformats.org/officeDocument/2006/relationships/slideLayout" Target="../slideLayouts/slideLayout1026.xml"/><Relationship Id="rId88" Type="http://schemas.openxmlformats.org/officeDocument/2006/relationships/slideLayout" Target="../slideLayouts/slideLayout1031.xml"/><Relationship Id="rId111" Type="http://schemas.openxmlformats.org/officeDocument/2006/relationships/slideLayout" Target="../slideLayouts/slideLayout1054.xml"/><Relationship Id="rId132" Type="http://schemas.openxmlformats.org/officeDocument/2006/relationships/slideLayout" Target="../slideLayouts/slideLayout1075.xml"/><Relationship Id="rId153" Type="http://schemas.openxmlformats.org/officeDocument/2006/relationships/slideLayout" Target="../slideLayouts/slideLayout1096.xml"/><Relationship Id="rId174" Type="http://schemas.openxmlformats.org/officeDocument/2006/relationships/slideLayout" Target="../slideLayouts/slideLayout1117.xml"/><Relationship Id="rId179" Type="http://schemas.openxmlformats.org/officeDocument/2006/relationships/slideLayout" Target="../slideLayouts/slideLayout1122.xml"/><Relationship Id="rId195" Type="http://schemas.openxmlformats.org/officeDocument/2006/relationships/slideLayout" Target="../slideLayouts/slideLayout1138.xml"/><Relationship Id="rId209" Type="http://schemas.openxmlformats.org/officeDocument/2006/relationships/slideLayout" Target="../slideLayouts/slideLayout1152.xml"/><Relationship Id="rId190" Type="http://schemas.openxmlformats.org/officeDocument/2006/relationships/slideLayout" Target="../slideLayouts/slideLayout1133.xml"/><Relationship Id="rId204" Type="http://schemas.openxmlformats.org/officeDocument/2006/relationships/slideLayout" Target="../slideLayouts/slideLayout1147.xml"/><Relationship Id="rId220" Type="http://schemas.openxmlformats.org/officeDocument/2006/relationships/slideLayout" Target="../slideLayouts/slideLayout1163.xml"/><Relationship Id="rId225" Type="http://schemas.openxmlformats.org/officeDocument/2006/relationships/slideLayout" Target="../slideLayouts/slideLayout1168.xml"/><Relationship Id="rId15" Type="http://schemas.openxmlformats.org/officeDocument/2006/relationships/slideLayout" Target="../slideLayouts/slideLayout958.xml"/><Relationship Id="rId36" Type="http://schemas.openxmlformats.org/officeDocument/2006/relationships/slideLayout" Target="../slideLayouts/slideLayout979.xml"/><Relationship Id="rId57" Type="http://schemas.openxmlformats.org/officeDocument/2006/relationships/slideLayout" Target="../slideLayouts/slideLayout1000.xml"/><Relationship Id="rId106" Type="http://schemas.openxmlformats.org/officeDocument/2006/relationships/slideLayout" Target="../slideLayouts/slideLayout1049.xml"/><Relationship Id="rId127" Type="http://schemas.openxmlformats.org/officeDocument/2006/relationships/slideLayout" Target="../slideLayouts/slideLayout1070.xml"/><Relationship Id="rId10" Type="http://schemas.openxmlformats.org/officeDocument/2006/relationships/slideLayout" Target="../slideLayouts/slideLayout953.xml"/><Relationship Id="rId31" Type="http://schemas.openxmlformats.org/officeDocument/2006/relationships/slideLayout" Target="../slideLayouts/slideLayout974.xml"/><Relationship Id="rId52" Type="http://schemas.openxmlformats.org/officeDocument/2006/relationships/slideLayout" Target="../slideLayouts/slideLayout995.xml"/><Relationship Id="rId73" Type="http://schemas.openxmlformats.org/officeDocument/2006/relationships/slideLayout" Target="../slideLayouts/slideLayout1016.xml"/><Relationship Id="rId78" Type="http://schemas.openxmlformats.org/officeDocument/2006/relationships/slideLayout" Target="../slideLayouts/slideLayout1021.xml"/><Relationship Id="rId94" Type="http://schemas.openxmlformats.org/officeDocument/2006/relationships/slideLayout" Target="../slideLayouts/slideLayout1037.xml"/><Relationship Id="rId99" Type="http://schemas.openxmlformats.org/officeDocument/2006/relationships/slideLayout" Target="../slideLayouts/slideLayout1042.xml"/><Relationship Id="rId101" Type="http://schemas.openxmlformats.org/officeDocument/2006/relationships/slideLayout" Target="../slideLayouts/slideLayout1044.xml"/><Relationship Id="rId122" Type="http://schemas.openxmlformats.org/officeDocument/2006/relationships/slideLayout" Target="../slideLayouts/slideLayout1065.xml"/><Relationship Id="rId143" Type="http://schemas.openxmlformats.org/officeDocument/2006/relationships/slideLayout" Target="../slideLayouts/slideLayout1086.xml"/><Relationship Id="rId148" Type="http://schemas.openxmlformats.org/officeDocument/2006/relationships/slideLayout" Target="../slideLayouts/slideLayout1091.xml"/><Relationship Id="rId164" Type="http://schemas.openxmlformats.org/officeDocument/2006/relationships/slideLayout" Target="../slideLayouts/slideLayout1107.xml"/><Relationship Id="rId169" Type="http://schemas.openxmlformats.org/officeDocument/2006/relationships/slideLayout" Target="../slideLayouts/slideLayout1112.xml"/><Relationship Id="rId185" Type="http://schemas.openxmlformats.org/officeDocument/2006/relationships/slideLayout" Target="../slideLayouts/slideLayout1128.xml"/><Relationship Id="rId4" Type="http://schemas.openxmlformats.org/officeDocument/2006/relationships/slideLayout" Target="../slideLayouts/slideLayout947.xml"/><Relationship Id="rId9" Type="http://schemas.openxmlformats.org/officeDocument/2006/relationships/slideLayout" Target="../slideLayouts/slideLayout952.xml"/><Relationship Id="rId180" Type="http://schemas.openxmlformats.org/officeDocument/2006/relationships/slideLayout" Target="../slideLayouts/slideLayout1123.xml"/><Relationship Id="rId210" Type="http://schemas.openxmlformats.org/officeDocument/2006/relationships/slideLayout" Target="../slideLayouts/slideLayout1153.xml"/><Relationship Id="rId215" Type="http://schemas.openxmlformats.org/officeDocument/2006/relationships/slideLayout" Target="../slideLayouts/slideLayout1158.xml"/><Relationship Id="rId26" Type="http://schemas.openxmlformats.org/officeDocument/2006/relationships/slideLayout" Target="../slideLayouts/slideLayout969.xml"/><Relationship Id="rId231" Type="http://schemas.openxmlformats.org/officeDocument/2006/relationships/slideLayout" Target="../slideLayouts/slideLayout1174.xml"/><Relationship Id="rId47" Type="http://schemas.openxmlformats.org/officeDocument/2006/relationships/slideLayout" Target="../slideLayouts/slideLayout990.xml"/><Relationship Id="rId68" Type="http://schemas.openxmlformats.org/officeDocument/2006/relationships/slideLayout" Target="../slideLayouts/slideLayout1011.xml"/><Relationship Id="rId89" Type="http://schemas.openxmlformats.org/officeDocument/2006/relationships/slideLayout" Target="../slideLayouts/slideLayout1032.xml"/><Relationship Id="rId112" Type="http://schemas.openxmlformats.org/officeDocument/2006/relationships/slideLayout" Target="../slideLayouts/slideLayout1055.xml"/><Relationship Id="rId133" Type="http://schemas.openxmlformats.org/officeDocument/2006/relationships/slideLayout" Target="../slideLayouts/slideLayout1076.xml"/><Relationship Id="rId154" Type="http://schemas.openxmlformats.org/officeDocument/2006/relationships/slideLayout" Target="../slideLayouts/slideLayout1097.xml"/><Relationship Id="rId175" Type="http://schemas.openxmlformats.org/officeDocument/2006/relationships/slideLayout" Target="../slideLayouts/slideLayout1118.xml"/><Relationship Id="rId196" Type="http://schemas.openxmlformats.org/officeDocument/2006/relationships/slideLayout" Target="../slideLayouts/slideLayout1139.xml"/><Relationship Id="rId200" Type="http://schemas.openxmlformats.org/officeDocument/2006/relationships/slideLayout" Target="../slideLayouts/slideLayout1143.xml"/><Relationship Id="rId16" Type="http://schemas.openxmlformats.org/officeDocument/2006/relationships/slideLayout" Target="../slideLayouts/slideLayout959.xml"/><Relationship Id="rId221" Type="http://schemas.openxmlformats.org/officeDocument/2006/relationships/slideLayout" Target="../slideLayouts/slideLayout1164.xml"/><Relationship Id="rId37" Type="http://schemas.openxmlformats.org/officeDocument/2006/relationships/slideLayout" Target="../slideLayouts/slideLayout980.xml"/><Relationship Id="rId58" Type="http://schemas.openxmlformats.org/officeDocument/2006/relationships/slideLayout" Target="../slideLayouts/slideLayout1001.xml"/><Relationship Id="rId79" Type="http://schemas.openxmlformats.org/officeDocument/2006/relationships/slideLayout" Target="../slideLayouts/slideLayout1022.xml"/><Relationship Id="rId102" Type="http://schemas.openxmlformats.org/officeDocument/2006/relationships/slideLayout" Target="../slideLayouts/slideLayout1045.xml"/><Relationship Id="rId123" Type="http://schemas.openxmlformats.org/officeDocument/2006/relationships/slideLayout" Target="../slideLayouts/slideLayout1066.xml"/><Relationship Id="rId144" Type="http://schemas.openxmlformats.org/officeDocument/2006/relationships/slideLayout" Target="../slideLayouts/slideLayout1087.xml"/><Relationship Id="rId90" Type="http://schemas.openxmlformats.org/officeDocument/2006/relationships/slideLayout" Target="../slideLayouts/slideLayout1033.xml"/><Relationship Id="rId165" Type="http://schemas.openxmlformats.org/officeDocument/2006/relationships/slideLayout" Target="../slideLayouts/slideLayout1108.xml"/><Relationship Id="rId186" Type="http://schemas.openxmlformats.org/officeDocument/2006/relationships/slideLayout" Target="../slideLayouts/slideLayout1129.xml"/><Relationship Id="rId211" Type="http://schemas.openxmlformats.org/officeDocument/2006/relationships/slideLayout" Target="../slideLayouts/slideLayout1154.xml"/><Relationship Id="rId232" Type="http://schemas.openxmlformats.org/officeDocument/2006/relationships/slideLayout" Target="../slideLayouts/slideLayout1175.xml"/><Relationship Id="rId27" Type="http://schemas.openxmlformats.org/officeDocument/2006/relationships/slideLayout" Target="../slideLayouts/slideLayout970.xml"/><Relationship Id="rId48" Type="http://schemas.openxmlformats.org/officeDocument/2006/relationships/slideLayout" Target="../slideLayouts/slideLayout991.xml"/><Relationship Id="rId69" Type="http://schemas.openxmlformats.org/officeDocument/2006/relationships/slideLayout" Target="../slideLayouts/slideLayout1012.xml"/><Relationship Id="rId113" Type="http://schemas.openxmlformats.org/officeDocument/2006/relationships/slideLayout" Target="../slideLayouts/slideLayout1056.xml"/><Relationship Id="rId134" Type="http://schemas.openxmlformats.org/officeDocument/2006/relationships/slideLayout" Target="../slideLayouts/slideLayout1077.xml"/><Relationship Id="rId80" Type="http://schemas.openxmlformats.org/officeDocument/2006/relationships/slideLayout" Target="../slideLayouts/slideLayout1023.xml"/><Relationship Id="rId155" Type="http://schemas.openxmlformats.org/officeDocument/2006/relationships/slideLayout" Target="../slideLayouts/slideLayout1098.xml"/><Relationship Id="rId176" Type="http://schemas.openxmlformats.org/officeDocument/2006/relationships/slideLayout" Target="../slideLayouts/slideLayout1119.xml"/><Relationship Id="rId197" Type="http://schemas.openxmlformats.org/officeDocument/2006/relationships/slideLayout" Target="../slideLayouts/slideLayout1140.xml"/><Relationship Id="rId201" Type="http://schemas.openxmlformats.org/officeDocument/2006/relationships/slideLayout" Target="../slideLayouts/slideLayout1144.xml"/><Relationship Id="rId222" Type="http://schemas.openxmlformats.org/officeDocument/2006/relationships/slideLayout" Target="../slideLayouts/slideLayout1165.xml"/><Relationship Id="rId17" Type="http://schemas.openxmlformats.org/officeDocument/2006/relationships/slideLayout" Target="../slideLayouts/slideLayout960.xml"/><Relationship Id="rId38" Type="http://schemas.openxmlformats.org/officeDocument/2006/relationships/slideLayout" Target="../slideLayouts/slideLayout981.xml"/><Relationship Id="rId59" Type="http://schemas.openxmlformats.org/officeDocument/2006/relationships/slideLayout" Target="../slideLayouts/slideLayout1002.xml"/><Relationship Id="rId103" Type="http://schemas.openxmlformats.org/officeDocument/2006/relationships/slideLayout" Target="../slideLayouts/slideLayout1046.xml"/><Relationship Id="rId124" Type="http://schemas.openxmlformats.org/officeDocument/2006/relationships/slideLayout" Target="../slideLayouts/slideLayout1067.xml"/><Relationship Id="rId70" Type="http://schemas.openxmlformats.org/officeDocument/2006/relationships/slideLayout" Target="../slideLayouts/slideLayout1013.xml"/><Relationship Id="rId91" Type="http://schemas.openxmlformats.org/officeDocument/2006/relationships/slideLayout" Target="../slideLayouts/slideLayout1034.xml"/><Relationship Id="rId145" Type="http://schemas.openxmlformats.org/officeDocument/2006/relationships/slideLayout" Target="../slideLayouts/slideLayout1088.xml"/><Relationship Id="rId166" Type="http://schemas.openxmlformats.org/officeDocument/2006/relationships/slideLayout" Target="../slideLayouts/slideLayout1109.xml"/><Relationship Id="rId187" Type="http://schemas.openxmlformats.org/officeDocument/2006/relationships/slideLayout" Target="../slideLayouts/slideLayout1130.xml"/><Relationship Id="rId1" Type="http://schemas.openxmlformats.org/officeDocument/2006/relationships/slideLayout" Target="../slideLayouts/slideLayout944.xml"/><Relationship Id="rId212" Type="http://schemas.openxmlformats.org/officeDocument/2006/relationships/slideLayout" Target="../slideLayouts/slideLayout1155.xml"/><Relationship Id="rId233" Type="http://schemas.openxmlformats.org/officeDocument/2006/relationships/slideLayout" Target="../slideLayouts/slideLayout1176.xml"/><Relationship Id="rId28" Type="http://schemas.openxmlformats.org/officeDocument/2006/relationships/slideLayout" Target="../slideLayouts/slideLayout971.xml"/><Relationship Id="rId49" Type="http://schemas.openxmlformats.org/officeDocument/2006/relationships/slideLayout" Target="../slideLayouts/slideLayout992.xml"/><Relationship Id="rId114" Type="http://schemas.openxmlformats.org/officeDocument/2006/relationships/slideLayout" Target="../slideLayouts/slideLayout1057.xml"/><Relationship Id="rId60" Type="http://schemas.openxmlformats.org/officeDocument/2006/relationships/slideLayout" Target="../slideLayouts/slideLayout1003.xml"/><Relationship Id="rId81" Type="http://schemas.openxmlformats.org/officeDocument/2006/relationships/slideLayout" Target="../slideLayouts/slideLayout1024.xml"/><Relationship Id="rId135" Type="http://schemas.openxmlformats.org/officeDocument/2006/relationships/slideLayout" Target="../slideLayouts/slideLayout1078.xml"/><Relationship Id="rId156" Type="http://schemas.openxmlformats.org/officeDocument/2006/relationships/slideLayout" Target="../slideLayouts/slideLayout1099.xml"/><Relationship Id="rId177" Type="http://schemas.openxmlformats.org/officeDocument/2006/relationships/slideLayout" Target="../slideLayouts/slideLayout1120.xml"/><Relationship Id="rId198" Type="http://schemas.openxmlformats.org/officeDocument/2006/relationships/slideLayout" Target="../slideLayouts/slideLayout1141.xml"/><Relationship Id="rId202" Type="http://schemas.openxmlformats.org/officeDocument/2006/relationships/slideLayout" Target="../slideLayouts/slideLayout1145.xml"/><Relationship Id="rId223" Type="http://schemas.openxmlformats.org/officeDocument/2006/relationships/slideLayout" Target="../slideLayouts/slideLayout1166.xml"/><Relationship Id="rId18" Type="http://schemas.openxmlformats.org/officeDocument/2006/relationships/slideLayout" Target="../slideLayouts/slideLayout961.xml"/><Relationship Id="rId39" Type="http://schemas.openxmlformats.org/officeDocument/2006/relationships/slideLayout" Target="../slideLayouts/slideLayout982.xml"/><Relationship Id="rId50" Type="http://schemas.openxmlformats.org/officeDocument/2006/relationships/slideLayout" Target="../slideLayouts/slideLayout993.xml"/><Relationship Id="rId104" Type="http://schemas.openxmlformats.org/officeDocument/2006/relationships/slideLayout" Target="../slideLayouts/slideLayout1047.xml"/><Relationship Id="rId125" Type="http://schemas.openxmlformats.org/officeDocument/2006/relationships/slideLayout" Target="../slideLayouts/slideLayout1068.xml"/><Relationship Id="rId146" Type="http://schemas.openxmlformats.org/officeDocument/2006/relationships/slideLayout" Target="../slideLayouts/slideLayout1089.xml"/><Relationship Id="rId167" Type="http://schemas.openxmlformats.org/officeDocument/2006/relationships/slideLayout" Target="../slideLayouts/slideLayout1110.xml"/><Relationship Id="rId188" Type="http://schemas.openxmlformats.org/officeDocument/2006/relationships/slideLayout" Target="../slideLayouts/slideLayout1131.xml"/><Relationship Id="rId71" Type="http://schemas.openxmlformats.org/officeDocument/2006/relationships/slideLayout" Target="../slideLayouts/slideLayout1014.xml"/><Relationship Id="rId92" Type="http://schemas.openxmlformats.org/officeDocument/2006/relationships/slideLayout" Target="../slideLayouts/slideLayout1035.xml"/><Relationship Id="rId213" Type="http://schemas.openxmlformats.org/officeDocument/2006/relationships/slideLayout" Target="../slideLayouts/slideLayout1156.xml"/><Relationship Id="rId234" Type="http://schemas.openxmlformats.org/officeDocument/2006/relationships/theme" Target="../theme/theme5.xml"/><Relationship Id="rId2" Type="http://schemas.openxmlformats.org/officeDocument/2006/relationships/slideLayout" Target="../slideLayouts/slideLayout945.xml"/><Relationship Id="rId29" Type="http://schemas.openxmlformats.org/officeDocument/2006/relationships/slideLayout" Target="../slideLayouts/slideLayout972.xml"/><Relationship Id="rId40" Type="http://schemas.openxmlformats.org/officeDocument/2006/relationships/slideLayout" Target="../slideLayouts/slideLayout983.xml"/><Relationship Id="rId115" Type="http://schemas.openxmlformats.org/officeDocument/2006/relationships/slideLayout" Target="../slideLayouts/slideLayout1058.xml"/><Relationship Id="rId136" Type="http://schemas.openxmlformats.org/officeDocument/2006/relationships/slideLayout" Target="../slideLayouts/slideLayout1079.xml"/><Relationship Id="rId157" Type="http://schemas.openxmlformats.org/officeDocument/2006/relationships/slideLayout" Target="../slideLayouts/slideLayout1100.xml"/><Relationship Id="rId178" Type="http://schemas.openxmlformats.org/officeDocument/2006/relationships/slideLayout" Target="../slideLayouts/slideLayout1121.xml"/><Relationship Id="rId61" Type="http://schemas.openxmlformats.org/officeDocument/2006/relationships/slideLayout" Target="../slideLayouts/slideLayout1004.xml"/><Relationship Id="rId82" Type="http://schemas.openxmlformats.org/officeDocument/2006/relationships/slideLayout" Target="../slideLayouts/slideLayout1025.xml"/><Relationship Id="rId199" Type="http://schemas.openxmlformats.org/officeDocument/2006/relationships/slideLayout" Target="../slideLayouts/slideLayout1142.xml"/><Relationship Id="rId203" Type="http://schemas.openxmlformats.org/officeDocument/2006/relationships/slideLayout" Target="../slideLayouts/slideLayout1146.xml"/><Relationship Id="rId19" Type="http://schemas.openxmlformats.org/officeDocument/2006/relationships/slideLayout" Target="../slideLayouts/slideLayout962.xml"/><Relationship Id="rId224" Type="http://schemas.openxmlformats.org/officeDocument/2006/relationships/slideLayout" Target="../slideLayouts/slideLayout1167.xml"/><Relationship Id="rId30" Type="http://schemas.openxmlformats.org/officeDocument/2006/relationships/slideLayout" Target="../slideLayouts/slideLayout973.xml"/><Relationship Id="rId105" Type="http://schemas.openxmlformats.org/officeDocument/2006/relationships/slideLayout" Target="../slideLayouts/slideLayout1048.xml"/><Relationship Id="rId126" Type="http://schemas.openxmlformats.org/officeDocument/2006/relationships/slideLayout" Target="../slideLayouts/slideLayout1069.xml"/><Relationship Id="rId147" Type="http://schemas.openxmlformats.org/officeDocument/2006/relationships/slideLayout" Target="../slideLayouts/slideLayout1090.xml"/><Relationship Id="rId168" Type="http://schemas.openxmlformats.org/officeDocument/2006/relationships/slideLayout" Target="../slideLayouts/slideLayout1111.xml"/><Relationship Id="rId51" Type="http://schemas.openxmlformats.org/officeDocument/2006/relationships/slideLayout" Target="../slideLayouts/slideLayout994.xml"/><Relationship Id="rId72" Type="http://schemas.openxmlformats.org/officeDocument/2006/relationships/slideLayout" Target="../slideLayouts/slideLayout1015.xml"/><Relationship Id="rId93" Type="http://schemas.openxmlformats.org/officeDocument/2006/relationships/slideLayout" Target="../slideLayouts/slideLayout1036.xml"/><Relationship Id="rId189" Type="http://schemas.openxmlformats.org/officeDocument/2006/relationships/slideLayout" Target="../slideLayouts/slideLayout1132.xml"/><Relationship Id="rId3" Type="http://schemas.openxmlformats.org/officeDocument/2006/relationships/slideLayout" Target="../slideLayouts/slideLayout946.xml"/><Relationship Id="rId214" Type="http://schemas.openxmlformats.org/officeDocument/2006/relationships/slideLayout" Target="../slideLayouts/slideLayout1157.xml"/><Relationship Id="rId116" Type="http://schemas.openxmlformats.org/officeDocument/2006/relationships/slideLayout" Target="../slideLayouts/slideLayout1059.xml"/><Relationship Id="rId137" Type="http://schemas.openxmlformats.org/officeDocument/2006/relationships/slideLayout" Target="../slideLayouts/slideLayout1080.xml"/><Relationship Id="rId158" Type="http://schemas.openxmlformats.org/officeDocument/2006/relationships/slideLayout" Target="../slideLayouts/slideLayout110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179.xml"/><Relationship Id="rId7" Type="http://schemas.openxmlformats.org/officeDocument/2006/relationships/slideLayout" Target="../slideLayouts/slideLayout1183.xml"/><Relationship Id="rId12" Type="http://schemas.openxmlformats.org/officeDocument/2006/relationships/slideLayout" Target="../slideLayouts/slideLayout1188.xml"/><Relationship Id="rId2" Type="http://schemas.openxmlformats.org/officeDocument/2006/relationships/slideLayout" Target="../slideLayouts/slideLayout1178.xml"/><Relationship Id="rId1" Type="http://schemas.openxmlformats.org/officeDocument/2006/relationships/slideLayout" Target="../slideLayouts/slideLayout1177.xml"/><Relationship Id="rId6" Type="http://schemas.openxmlformats.org/officeDocument/2006/relationships/slideLayout" Target="../slideLayouts/slideLayout1182.xml"/><Relationship Id="rId11" Type="http://schemas.openxmlformats.org/officeDocument/2006/relationships/slideLayout" Target="../slideLayouts/slideLayout1187.xml"/><Relationship Id="rId5" Type="http://schemas.openxmlformats.org/officeDocument/2006/relationships/slideLayout" Target="../slideLayouts/slideLayout1181.xml"/><Relationship Id="rId10" Type="http://schemas.openxmlformats.org/officeDocument/2006/relationships/slideLayout" Target="../slideLayouts/slideLayout1186.xml"/><Relationship Id="rId4" Type="http://schemas.openxmlformats.org/officeDocument/2006/relationships/slideLayout" Target="../slideLayouts/slideLayout1180.xml"/><Relationship Id="rId9" Type="http://schemas.openxmlformats.org/officeDocument/2006/relationships/slideLayout" Target="../slideLayouts/slideLayout1185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05.xml"/><Relationship Id="rId21" Type="http://schemas.openxmlformats.org/officeDocument/2006/relationships/slideLayout" Target="../slideLayouts/slideLayout1209.xml"/><Relationship Id="rId42" Type="http://schemas.openxmlformats.org/officeDocument/2006/relationships/slideLayout" Target="../slideLayouts/slideLayout1230.xml"/><Relationship Id="rId63" Type="http://schemas.openxmlformats.org/officeDocument/2006/relationships/slideLayout" Target="../slideLayouts/slideLayout1251.xml"/><Relationship Id="rId84" Type="http://schemas.openxmlformats.org/officeDocument/2006/relationships/slideLayout" Target="../slideLayouts/slideLayout1272.xml"/><Relationship Id="rId138" Type="http://schemas.openxmlformats.org/officeDocument/2006/relationships/slideLayout" Target="../slideLayouts/slideLayout1326.xml"/><Relationship Id="rId159" Type="http://schemas.openxmlformats.org/officeDocument/2006/relationships/slideLayout" Target="../slideLayouts/slideLayout1347.xml"/><Relationship Id="rId170" Type="http://schemas.openxmlformats.org/officeDocument/2006/relationships/slideLayout" Target="../slideLayouts/slideLayout1358.xml"/><Relationship Id="rId191" Type="http://schemas.openxmlformats.org/officeDocument/2006/relationships/slideLayout" Target="../slideLayouts/slideLayout1379.xml"/><Relationship Id="rId205" Type="http://schemas.openxmlformats.org/officeDocument/2006/relationships/slideLayout" Target="../slideLayouts/slideLayout1393.xml"/><Relationship Id="rId226" Type="http://schemas.openxmlformats.org/officeDocument/2006/relationships/slideLayout" Target="../slideLayouts/slideLayout1414.xml"/><Relationship Id="rId107" Type="http://schemas.openxmlformats.org/officeDocument/2006/relationships/slideLayout" Target="../slideLayouts/slideLayout1295.xml"/><Relationship Id="rId11" Type="http://schemas.openxmlformats.org/officeDocument/2006/relationships/slideLayout" Target="../slideLayouts/slideLayout1199.xml"/><Relationship Id="rId32" Type="http://schemas.openxmlformats.org/officeDocument/2006/relationships/slideLayout" Target="../slideLayouts/slideLayout1220.xml"/><Relationship Id="rId53" Type="http://schemas.openxmlformats.org/officeDocument/2006/relationships/slideLayout" Target="../slideLayouts/slideLayout1241.xml"/><Relationship Id="rId74" Type="http://schemas.openxmlformats.org/officeDocument/2006/relationships/slideLayout" Target="../slideLayouts/slideLayout1262.xml"/><Relationship Id="rId128" Type="http://schemas.openxmlformats.org/officeDocument/2006/relationships/slideLayout" Target="../slideLayouts/slideLayout1316.xml"/><Relationship Id="rId149" Type="http://schemas.openxmlformats.org/officeDocument/2006/relationships/slideLayout" Target="../slideLayouts/slideLayout1337.xml"/><Relationship Id="rId5" Type="http://schemas.openxmlformats.org/officeDocument/2006/relationships/slideLayout" Target="../slideLayouts/slideLayout1193.xml"/><Relationship Id="rId95" Type="http://schemas.openxmlformats.org/officeDocument/2006/relationships/slideLayout" Target="../slideLayouts/slideLayout1283.xml"/><Relationship Id="rId160" Type="http://schemas.openxmlformats.org/officeDocument/2006/relationships/slideLayout" Target="../slideLayouts/slideLayout1348.xml"/><Relationship Id="rId181" Type="http://schemas.openxmlformats.org/officeDocument/2006/relationships/slideLayout" Target="../slideLayouts/slideLayout1369.xml"/><Relationship Id="rId216" Type="http://schemas.openxmlformats.org/officeDocument/2006/relationships/slideLayout" Target="../slideLayouts/slideLayout1404.xml"/><Relationship Id="rId22" Type="http://schemas.openxmlformats.org/officeDocument/2006/relationships/slideLayout" Target="../slideLayouts/slideLayout1210.xml"/><Relationship Id="rId43" Type="http://schemas.openxmlformats.org/officeDocument/2006/relationships/slideLayout" Target="../slideLayouts/slideLayout1231.xml"/><Relationship Id="rId64" Type="http://schemas.openxmlformats.org/officeDocument/2006/relationships/slideLayout" Target="../slideLayouts/slideLayout1252.xml"/><Relationship Id="rId118" Type="http://schemas.openxmlformats.org/officeDocument/2006/relationships/slideLayout" Target="../slideLayouts/slideLayout1306.xml"/><Relationship Id="rId139" Type="http://schemas.openxmlformats.org/officeDocument/2006/relationships/slideLayout" Target="../slideLayouts/slideLayout1327.xml"/><Relationship Id="rId85" Type="http://schemas.openxmlformats.org/officeDocument/2006/relationships/slideLayout" Target="../slideLayouts/slideLayout1273.xml"/><Relationship Id="rId150" Type="http://schemas.openxmlformats.org/officeDocument/2006/relationships/slideLayout" Target="../slideLayouts/slideLayout1338.xml"/><Relationship Id="rId171" Type="http://schemas.openxmlformats.org/officeDocument/2006/relationships/slideLayout" Target="../slideLayouts/slideLayout1359.xml"/><Relationship Id="rId192" Type="http://schemas.openxmlformats.org/officeDocument/2006/relationships/slideLayout" Target="../slideLayouts/slideLayout1380.xml"/><Relationship Id="rId206" Type="http://schemas.openxmlformats.org/officeDocument/2006/relationships/slideLayout" Target="../slideLayouts/slideLayout1394.xml"/><Relationship Id="rId227" Type="http://schemas.openxmlformats.org/officeDocument/2006/relationships/slideLayout" Target="../slideLayouts/slideLayout1415.xml"/><Relationship Id="rId12" Type="http://schemas.openxmlformats.org/officeDocument/2006/relationships/slideLayout" Target="../slideLayouts/slideLayout1200.xml"/><Relationship Id="rId33" Type="http://schemas.openxmlformats.org/officeDocument/2006/relationships/slideLayout" Target="../slideLayouts/slideLayout1221.xml"/><Relationship Id="rId108" Type="http://schemas.openxmlformats.org/officeDocument/2006/relationships/slideLayout" Target="../slideLayouts/slideLayout1296.xml"/><Relationship Id="rId129" Type="http://schemas.openxmlformats.org/officeDocument/2006/relationships/slideLayout" Target="../slideLayouts/slideLayout1317.xml"/><Relationship Id="rId54" Type="http://schemas.openxmlformats.org/officeDocument/2006/relationships/slideLayout" Target="../slideLayouts/slideLayout1242.xml"/><Relationship Id="rId75" Type="http://schemas.openxmlformats.org/officeDocument/2006/relationships/slideLayout" Target="../slideLayouts/slideLayout1263.xml"/><Relationship Id="rId96" Type="http://schemas.openxmlformats.org/officeDocument/2006/relationships/slideLayout" Target="../slideLayouts/slideLayout1284.xml"/><Relationship Id="rId140" Type="http://schemas.openxmlformats.org/officeDocument/2006/relationships/slideLayout" Target="../slideLayouts/slideLayout1328.xml"/><Relationship Id="rId161" Type="http://schemas.openxmlformats.org/officeDocument/2006/relationships/slideLayout" Target="../slideLayouts/slideLayout1349.xml"/><Relationship Id="rId182" Type="http://schemas.openxmlformats.org/officeDocument/2006/relationships/slideLayout" Target="../slideLayouts/slideLayout1370.xml"/><Relationship Id="rId217" Type="http://schemas.openxmlformats.org/officeDocument/2006/relationships/slideLayout" Target="../slideLayouts/slideLayout1405.xml"/><Relationship Id="rId6" Type="http://schemas.openxmlformats.org/officeDocument/2006/relationships/slideLayout" Target="../slideLayouts/slideLayout1194.xml"/><Relationship Id="rId23" Type="http://schemas.openxmlformats.org/officeDocument/2006/relationships/slideLayout" Target="../slideLayouts/slideLayout1211.xml"/><Relationship Id="rId119" Type="http://schemas.openxmlformats.org/officeDocument/2006/relationships/slideLayout" Target="../slideLayouts/slideLayout1307.xml"/><Relationship Id="rId44" Type="http://schemas.openxmlformats.org/officeDocument/2006/relationships/slideLayout" Target="../slideLayouts/slideLayout1232.xml"/><Relationship Id="rId65" Type="http://schemas.openxmlformats.org/officeDocument/2006/relationships/slideLayout" Target="../slideLayouts/slideLayout1253.xml"/><Relationship Id="rId86" Type="http://schemas.openxmlformats.org/officeDocument/2006/relationships/slideLayout" Target="../slideLayouts/slideLayout1274.xml"/><Relationship Id="rId130" Type="http://schemas.openxmlformats.org/officeDocument/2006/relationships/slideLayout" Target="../slideLayouts/slideLayout1318.xml"/><Relationship Id="rId151" Type="http://schemas.openxmlformats.org/officeDocument/2006/relationships/slideLayout" Target="../slideLayouts/slideLayout1339.xml"/><Relationship Id="rId172" Type="http://schemas.openxmlformats.org/officeDocument/2006/relationships/slideLayout" Target="../slideLayouts/slideLayout1360.xml"/><Relationship Id="rId193" Type="http://schemas.openxmlformats.org/officeDocument/2006/relationships/slideLayout" Target="../slideLayouts/slideLayout1381.xml"/><Relationship Id="rId207" Type="http://schemas.openxmlformats.org/officeDocument/2006/relationships/slideLayout" Target="../slideLayouts/slideLayout1395.xml"/><Relationship Id="rId228" Type="http://schemas.openxmlformats.org/officeDocument/2006/relationships/slideLayout" Target="../slideLayouts/slideLayout1416.xml"/><Relationship Id="rId13" Type="http://schemas.openxmlformats.org/officeDocument/2006/relationships/slideLayout" Target="../slideLayouts/slideLayout1201.xml"/><Relationship Id="rId109" Type="http://schemas.openxmlformats.org/officeDocument/2006/relationships/slideLayout" Target="../slideLayouts/slideLayout1297.xml"/><Relationship Id="rId34" Type="http://schemas.openxmlformats.org/officeDocument/2006/relationships/slideLayout" Target="../slideLayouts/slideLayout1222.xml"/><Relationship Id="rId55" Type="http://schemas.openxmlformats.org/officeDocument/2006/relationships/slideLayout" Target="../slideLayouts/slideLayout1243.xml"/><Relationship Id="rId76" Type="http://schemas.openxmlformats.org/officeDocument/2006/relationships/slideLayout" Target="../slideLayouts/slideLayout1264.xml"/><Relationship Id="rId97" Type="http://schemas.openxmlformats.org/officeDocument/2006/relationships/slideLayout" Target="../slideLayouts/slideLayout1285.xml"/><Relationship Id="rId120" Type="http://schemas.openxmlformats.org/officeDocument/2006/relationships/slideLayout" Target="../slideLayouts/slideLayout1308.xml"/><Relationship Id="rId141" Type="http://schemas.openxmlformats.org/officeDocument/2006/relationships/slideLayout" Target="../slideLayouts/slideLayout1329.xml"/><Relationship Id="rId7" Type="http://schemas.openxmlformats.org/officeDocument/2006/relationships/slideLayout" Target="../slideLayouts/slideLayout1195.xml"/><Relationship Id="rId162" Type="http://schemas.openxmlformats.org/officeDocument/2006/relationships/slideLayout" Target="../slideLayouts/slideLayout1350.xml"/><Relationship Id="rId183" Type="http://schemas.openxmlformats.org/officeDocument/2006/relationships/slideLayout" Target="../slideLayouts/slideLayout1371.xml"/><Relationship Id="rId218" Type="http://schemas.openxmlformats.org/officeDocument/2006/relationships/slideLayout" Target="../slideLayouts/slideLayout1406.xml"/><Relationship Id="rId24" Type="http://schemas.openxmlformats.org/officeDocument/2006/relationships/slideLayout" Target="../slideLayouts/slideLayout1212.xml"/><Relationship Id="rId45" Type="http://schemas.openxmlformats.org/officeDocument/2006/relationships/slideLayout" Target="../slideLayouts/slideLayout1233.xml"/><Relationship Id="rId66" Type="http://schemas.openxmlformats.org/officeDocument/2006/relationships/slideLayout" Target="../slideLayouts/slideLayout1254.xml"/><Relationship Id="rId87" Type="http://schemas.openxmlformats.org/officeDocument/2006/relationships/slideLayout" Target="../slideLayouts/slideLayout1275.xml"/><Relationship Id="rId110" Type="http://schemas.openxmlformats.org/officeDocument/2006/relationships/slideLayout" Target="../slideLayouts/slideLayout1298.xml"/><Relationship Id="rId131" Type="http://schemas.openxmlformats.org/officeDocument/2006/relationships/slideLayout" Target="../slideLayouts/slideLayout1319.xml"/><Relationship Id="rId152" Type="http://schemas.openxmlformats.org/officeDocument/2006/relationships/slideLayout" Target="../slideLayouts/slideLayout1340.xml"/><Relationship Id="rId173" Type="http://schemas.openxmlformats.org/officeDocument/2006/relationships/slideLayout" Target="../slideLayouts/slideLayout1361.xml"/><Relationship Id="rId194" Type="http://schemas.openxmlformats.org/officeDocument/2006/relationships/slideLayout" Target="../slideLayouts/slideLayout1382.xml"/><Relationship Id="rId208" Type="http://schemas.openxmlformats.org/officeDocument/2006/relationships/slideLayout" Target="../slideLayouts/slideLayout1396.xml"/><Relationship Id="rId229" Type="http://schemas.openxmlformats.org/officeDocument/2006/relationships/theme" Target="../theme/theme7.xml"/><Relationship Id="rId14" Type="http://schemas.openxmlformats.org/officeDocument/2006/relationships/slideLayout" Target="../slideLayouts/slideLayout1202.xml"/><Relationship Id="rId35" Type="http://schemas.openxmlformats.org/officeDocument/2006/relationships/slideLayout" Target="../slideLayouts/slideLayout1223.xml"/><Relationship Id="rId56" Type="http://schemas.openxmlformats.org/officeDocument/2006/relationships/slideLayout" Target="../slideLayouts/slideLayout1244.xml"/><Relationship Id="rId77" Type="http://schemas.openxmlformats.org/officeDocument/2006/relationships/slideLayout" Target="../slideLayouts/slideLayout1265.xml"/><Relationship Id="rId100" Type="http://schemas.openxmlformats.org/officeDocument/2006/relationships/slideLayout" Target="../slideLayouts/slideLayout1288.xml"/><Relationship Id="rId8" Type="http://schemas.openxmlformats.org/officeDocument/2006/relationships/slideLayout" Target="../slideLayouts/slideLayout1196.xml"/><Relationship Id="rId98" Type="http://schemas.openxmlformats.org/officeDocument/2006/relationships/slideLayout" Target="../slideLayouts/slideLayout1286.xml"/><Relationship Id="rId121" Type="http://schemas.openxmlformats.org/officeDocument/2006/relationships/slideLayout" Target="../slideLayouts/slideLayout1309.xml"/><Relationship Id="rId142" Type="http://schemas.openxmlformats.org/officeDocument/2006/relationships/slideLayout" Target="../slideLayouts/slideLayout1330.xml"/><Relationship Id="rId163" Type="http://schemas.openxmlformats.org/officeDocument/2006/relationships/slideLayout" Target="../slideLayouts/slideLayout1351.xml"/><Relationship Id="rId184" Type="http://schemas.openxmlformats.org/officeDocument/2006/relationships/slideLayout" Target="../slideLayouts/slideLayout1372.xml"/><Relationship Id="rId219" Type="http://schemas.openxmlformats.org/officeDocument/2006/relationships/slideLayout" Target="../slideLayouts/slideLayout1407.xml"/><Relationship Id="rId25" Type="http://schemas.openxmlformats.org/officeDocument/2006/relationships/slideLayout" Target="../slideLayouts/slideLayout1213.xml"/><Relationship Id="rId46" Type="http://schemas.openxmlformats.org/officeDocument/2006/relationships/slideLayout" Target="../slideLayouts/slideLayout1234.xml"/><Relationship Id="rId67" Type="http://schemas.openxmlformats.org/officeDocument/2006/relationships/slideLayout" Target="../slideLayouts/slideLayout1255.xml"/><Relationship Id="rId116" Type="http://schemas.openxmlformats.org/officeDocument/2006/relationships/slideLayout" Target="../slideLayouts/slideLayout1304.xml"/><Relationship Id="rId137" Type="http://schemas.openxmlformats.org/officeDocument/2006/relationships/slideLayout" Target="../slideLayouts/slideLayout1325.xml"/><Relationship Id="rId158" Type="http://schemas.openxmlformats.org/officeDocument/2006/relationships/slideLayout" Target="../slideLayouts/slideLayout1346.xml"/><Relationship Id="rId20" Type="http://schemas.openxmlformats.org/officeDocument/2006/relationships/slideLayout" Target="../slideLayouts/slideLayout1208.xml"/><Relationship Id="rId41" Type="http://schemas.openxmlformats.org/officeDocument/2006/relationships/slideLayout" Target="../slideLayouts/slideLayout1229.xml"/><Relationship Id="rId62" Type="http://schemas.openxmlformats.org/officeDocument/2006/relationships/slideLayout" Target="../slideLayouts/slideLayout1250.xml"/><Relationship Id="rId83" Type="http://schemas.openxmlformats.org/officeDocument/2006/relationships/slideLayout" Target="../slideLayouts/slideLayout1271.xml"/><Relationship Id="rId88" Type="http://schemas.openxmlformats.org/officeDocument/2006/relationships/slideLayout" Target="../slideLayouts/slideLayout1276.xml"/><Relationship Id="rId111" Type="http://schemas.openxmlformats.org/officeDocument/2006/relationships/slideLayout" Target="../slideLayouts/slideLayout1299.xml"/><Relationship Id="rId132" Type="http://schemas.openxmlformats.org/officeDocument/2006/relationships/slideLayout" Target="../slideLayouts/slideLayout1320.xml"/><Relationship Id="rId153" Type="http://schemas.openxmlformats.org/officeDocument/2006/relationships/slideLayout" Target="../slideLayouts/slideLayout1341.xml"/><Relationship Id="rId174" Type="http://schemas.openxmlformats.org/officeDocument/2006/relationships/slideLayout" Target="../slideLayouts/slideLayout1362.xml"/><Relationship Id="rId179" Type="http://schemas.openxmlformats.org/officeDocument/2006/relationships/slideLayout" Target="../slideLayouts/slideLayout1367.xml"/><Relationship Id="rId195" Type="http://schemas.openxmlformats.org/officeDocument/2006/relationships/slideLayout" Target="../slideLayouts/slideLayout1383.xml"/><Relationship Id="rId209" Type="http://schemas.openxmlformats.org/officeDocument/2006/relationships/slideLayout" Target="../slideLayouts/slideLayout1397.xml"/><Relationship Id="rId190" Type="http://schemas.openxmlformats.org/officeDocument/2006/relationships/slideLayout" Target="../slideLayouts/slideLayout1378.xml"/><Relationship Id="rId204" Type="http://schemas.openxmlformats.org/officeDocument/2006/relationships/slideLayout" Target="../slideLayouts/slideLayout1392.xml"/><Relationship Id="rId220" Type="http://schemas.openxmlformats.org/officeDocument/2006/relationships/slideLayout" Target="../slideLayouts/slideLayout1408.xml"/><Relationship Id="rId225" Type="http://schemas.openxmlformats.org/officeDocument/2006/relationships/slideLayout" Target="../slideLayouts/slideLayout1413.xml"/><Relationship Id="rId15" Type="http://schemas.openxmlformats.org/officeDocument/2006/relationships/slideLayout" Target="../slideLayouts/slideLayout1203.xml"/><Relationship Id="rId36" Type="http://schemas.openxmlformats.org/officeDocument/2006/relationships/slideLayout" Target="../slideLayouts/slideLayout1224.xml"/><Relationship Id="rId57" Type="http://schemas.openxmlformats.org/officeDocument/2006/relationships/slideLayout" Target="../slideLayouts/slideLayout1245.xml"/><Relationship Id="rId106" Type="http://schemas.openxmlformats.org/officeDocument/2006/relationships/slideLayout" Target="../slideLayouts/slideLayout1294.xml"/><Relationship Id="rId127" Type="http://schemas.openxmlformats.org/officeDocument/2006/relationships/slideLayout" Target="../slideLayouts/slideLayout1315.xml"/><Relationship Id="rId10" Type="http://schemas.openxmlformats.org/officeDocument/2006/relationships/slideLayout" Target="../slideLayouts/slideLayout1198.xml"/><Relationship Id="rId31" Type="http://schemas.openxmlformats.org/officeDocument/2006/relationships/slideLayout" Target="../slideLayouts/slideLayout1219.xml"/><Relationship Id="rId52" Type="http://schemas.openxmlformats.org/officeDocument/2006/relationships/slideLayout" Target="../slideLayouts/slideLayout1240.xml"/><Relationship Id="rId73" Type="http://schemas.openxmlformats.org/officeDocument/2006/relationships/slideLayout" Target="../slideLayouts/slideLayout1261.xml"/><Relationship Id="rId78" Type="http://schemas.openxmlformats.org/officeDocument/2006/relationships/slideLayout" Target="../slideLayouts/slideLayout1266.xml"/><Relationship Id="rId94" Type="http://schemas.openxmlformats.org/officeDocument/2006/relationships/slideLayout" Target="../slideLayouts/slideLayout1282.xml"/><Relationship Id="rId99" Type="http://schemas.openxmlformats.org/officeDocument/2006/relationships/slideLayout" Target="../slideLayouts/slideLayout1287.xml"/><Relationship Id="rId101" Type="http://schemas.openxmlformats.org/officeDocument/2006/relationships/slideLayout" Target="../slideLayouts/slideLayout1289.xml"/><Relationship Id="rId122" Type="http://schemas.openxmlformats.org/officeDocument/2006/relationships/slideLayout" Target="../slideLayouts/slideLayout1310.xml"/><Relationship Id="rId143" Type="http://schemas.openxmlformats.org/officeDocument/2006/relationships/slideLayout" Target="../slideLayouts/slideLayout1331.xml"/><Relationship Id="rId148" Type="http://schemas.openxmlformats.org/officeDocument/2006/relationships/slideLayout" Target="../slideLayouts/slideLayout1336.xml"/><Relationship Id="rId164" Type="http://schemas.openxmlformats.org/officeDocument/2006/relationships/slideLayout" Target="../slideLayouts/slideLayout1352.xml"/><Relationship Id="rId169" Type="http://schemas.openxmlformats.org/officeDocument/2006/relationships/slideLayout" Target="../slideLayouts/slideLayout1357.xml"/><Relationship Id="rId185" Type="http://schemas.openxmlformats.org/officeDocument/2006/relationships/slideLayout" Target="../slideLayouts/slideLayout1373.xml"/><Relationship Id="rId4" Type="http://schemas.openxmlformats.org/officeDocument/2006/relationships/slideLayout" Target="../slideLayouts/slideLayout1192.xml"/><Relationship Id="rId9" Type="http://schemas.openxmlformats.org/officeDocument/2006/relationships/slideLayout" Target="../slideLayouts/slideLayout1197.xml"/><Relationship Id="rId180" Type="http://schemas.openxmlformats.org/officeDocument/2006/relationships/slideLayout" Target="../slideLayouts/slideLayout1368.xml"/><Relationship Id="rId210" Type="http://schemas.openxmlformats.org/officeDocument/2006/relationships/slideLayout" Target="../slideLayouts/slideLayout1398.xml"/><Relationship Id="rId215" Type="http://schemas.openxmlformats.org/officeDocument/2006/relationships/slideLayout" Target="../slideLayouts/slideLayout1403.xml"/><Relationship Id="rId26" Type="http://schemas.openxmlformats.org/officeDocument/2006/relationships/slideLayout" Target="../slideLayouts/slideLayout1214.xml"/><Relationship Id="rId47" Type="http://schemas.openxmlformats.org/officeDocument/2006/relationships/slideLayout" Target="../slideLayouts/slideLayout1235.xml"/><Relationship Id="rId68" Type="http://schemas.openxmlformats.org/officeDocument/2006/relationships/slideLayout" Target="../slideLayouts/slideLayout1256.xml"/><Relationship Id="rId89" Type="http://schemas.openxmlformats.org/officeDocument/2006/relationships/slideLayout" Target="../slideLayouts/slideLayout1277.xml"/><Relationship Id="rId112" Type="http://schemas.openxmlformats.org/officeDocument/2006/relationships/slideLayout" Target="../slideLayouts/slideLayout1300.xml"/><Relationship Id="rId133" Type="http://schemas.openxmlformats.org/officeDocument/2006/relationships/slideLayout" Target="../slideLayouts/slideLayout1321.xml"/><Relationship Id="rId154" Type="http://schemas.openxmlformats.org/officeDocument/2006/relationships/slideLayout" Target="../slideLayouts/slideLayout1342.xml"/><Relationship Id="rId175" Type="http://schemas.openxmlformats.org/officeDocument/2006/relationships/slideLayout" Target="../slideLayouts/slideLayout1363.xml"/><Relationship Id="rId196" Type="http://schemas.openxmlformats.org/officeDocument/2006/relationships/slideLayout" Target="../slideLayouts/slideLayout1384.xml"/><Relationship Id="rId200" Type="http://schemas.openxmlformats.org/officeDocument/2006/relationships/slideLayout" Target="../slideLayouts/slideLayout1388.xml"/><Relationship Id="rId16" Type="http://schemas.openxmlformats.org/officeDocument/2006/relationships/slideLayout" Target="../slideLayouts/slideLayout1204.xml"/><Relationship Id="rId221" Type="http://schemas.openxmlformats.org/officeDocument/2006/relationships/slideLayout" Target="../slideLayouts/slideLayout1409.xml"/><Relationship Id="rId37" Type="http://schemas.openxmlformats.org/officeDocument/2006/relationships/slideLayout" Target="../slideLayouts/slideLayout1225.xml"/><Relationship Id="rId58" Type="http://schemas.openxmlformats.org/officeDocument/2006/relationships/slideLayout" Target="../slideLayouts/slideLayout1246.xml"/><Relationship Id="rId79" Type="http://schemas.openxmlformats.org/officeDocument/2006/relationships/slideLayout" Target="../slideLayouts/slideLayout1267.xml"/><Relationship Id="rId102" Type="http://schemas.openxmlformats.org/officeDocument/2006/relationships/slideLayout" Target="../slideLayouts/slideLayout1290.xml"/><Relationship Id="rId123" Type="http://schemas.openxmlformats.org/officeDocument/2006/relationships/slideLayout" Target="../slideLayouts/slideLayout1311.xml"/><Relationship Id="rId144" Type="http://schemas.openxmlformats.org/officeDocument/2006/relationships/slideLayout" Target="../slideLayouts/slideLayout1332.xml"/><Relationship Id="rId90" Type="http://schemas.openxmlformats.org/officeDocument/2006/relationships/slideLayout" Target="../slideLayouts/slideLayout1278.xml"/><Relationship Id="rId165" Type="http://schemas.openxmlformats.org/officeDocument/2006/relationships/slideLayout" Target="../slideLayouts/slideLayout1353.xml"/><Relationship Id="rId186" Type="http://schemas.openxmlformats.org/officeDocument/2006/relationships/slideLayout" Target="../slideLayouts/slideLayout1374.xml"/><Relationship Id="rId211" Type="http://schemas.openxmlformats.org/officeDocument/2006/relationships/slideLayout" Target="../slideLayouts/slideLayout1399.xml"/><Relationship Id="rId27" Type="http://schemas.openxmlformats.org/officeDocument/2006/relationships/slideLayout" Target="../slideLayouts/slideLayout1215.xml"/><Relationship Id="rId48" Type="http://schemas.openxmlformats.org/officeDocument/2006/relationships/slideLayout" Target="../slideLayouts/slideLayout1236.xml"/><Relationship Id="rId69" Type="http://schemas.openxmlformats.org/officeDocument/2006/relationships/slideLayout" Target="../slideLayouts/slideLayout1257.xml"/><Relationship Id="rId113" Type="http://schemas.openxmlformats.org/officeDocument/2006/relationships/slideLayout" Target="../slideLayouts/slideLayout1301.xml"/><Relationship Id="rId134" Type="http://schemas.openxmlformats.org/officeDocument/2006/relationships/slideLayout" Target="../slideLayouts/slideLayout1322.xml"/><Relationship Id="rId80" Type="http://schemas.openxmlformats.org/officeDocument/2006/relationships/slideLayout" Target="../slideLayouts/slideLayout1268.xml"/><Relationship Id="rId155" Type="http://schemas.openxmlformats.org/officeDocument/2006/relationships/slideLayout" Target="../slideLayouts/slideLayout1343.xml"/><Relationship Id="rId176" Type="http://schemas.openxmlformats.org/officeDocument/2006/relationships/slideLayout" Target="../slideLayouts/slideLayout1364.xml"/><Relationship Id="rId197" Type="http://schemas.openxmlformats.org/officeDocument/2006/relationships/slideLayout" Target="../slideLayouts/slideLayout1385.xml"/><Relationship Id="rId201" Type="http://schemas.openxmlformats.org/officeDocument/2006/relationships/slideLayout" Target="../slideLayouts/slideLayout1389.xml"/><Relationship Id="rId222" Type="http://schemas.openxmlformats.org/officeDocument/2006/relationships/slideLayout" Target="../slideLayouts/slideLayout1410.xml"/><Relationship Id="rId17" Type="http://schemas.openxmlformats.org/officeDocument/2006/relationships/slideLayout" Target="../slideLayouts/slideLayout1205.xml"/><Relationship Id="rId38" Type="http://schemas.openxmlformats.org/officeDocument/2006/relationships/slideLayout" Target="../slideLayouts/slideLayout1226.xml"/><Relationship Id="rId59" Type="http://schemas.openxmlformats.org/officeDocument/2006/relationships/slideLayout" Target="../slideLayouts/slideLayout1247.xml"/><Relationship Id="rId103" Type="http://schemas.openxmlformats.org/officeDocument/2006/relationships/slideLayout" Target="../slideLayouts/slideLayout1291.xml"/><Relationship Id="rId124" Type="http://schemas.openxmlformats.org/officeDocument/2006/relationships/slideLayout" Target="../slideLayouts/slideLayout1312.xml"/><Relationship Id="rId70" Type="http://schemas.openxmlformats.org/officeDocument/2006/relationships/slideLayout" Target="../slideLayouts/slideLayout1258.xml"/><Relationship Id="rId91" Type="http://schemas.openxmlformats.org/officeDocument/2006/relationships/slideLayout" Target="../slideLayouts/slideLayout1279.xml"/><Relationship Id="rId145" Type="http://schemas.openxmlformats.org/officeDocument/2006/relationships/slideLayout" Target="../slideLayouts/slideLayout1333.xml"/><Relationship Id="rId166" Type="http://schemas.openxmlformats.org/officeDocument/2006/relationships/slideLayout" Target="../slideLayouts/slideLayout1354.xml"/><Relationship Id="rId187" Type="http://schemas.openxmlformats.org/officeDocument/2006/relationships/slideLayout" Target="../slideLayouts/slideLayout1375.xml"/><Relationship Id="rId1" Type="http://schemas.openxmlformats.org/officeDocument/2006/relationships/slideLayout" Target="../slideLayouts/slideLayout1189.xml"/><Relationship Id="rId212" Type="http://schemas.openxmlformats.org/officeDocument/2006/relationships/slideLayout" Target="../slideLayouts/slideLayout1400.xml"/><Relationship Id="rId28" Type="http://schemas.openxmlformats.org/officeDocument/2006/relationships/slideLayout" Target="../slideLayouts/slideLayout1216.xml"/><Relationship Id="rId49" Type="http://schemas.openxmlformats.org/officeDocument/2006/relationships/slideLayout" Target="../slideLayouts/slideLayout1237.xml"/><Relationship Id="rId114" Type="http://schemas.openxmlformats.org/officeDocument/2006/relationships/slideLayout" Target="../slideLayouts/slideLayout1302.xml"/><Relationship Id="rId60" Type="http://schemas.openxmlformats.org/officeDocument/2006/relationships/slideLayout" Target="../slideLayouts/slideLayout1248.xml"/><Relationship Id="rId81" Type="http://schemas.openxmlformats.org/officeDocument/2006/relationships/slideLayout" Target="../slideLayouts/slideLayout1269.xml"/><Relationship Id="rId135" Type="http://schemas.openxmlformats.org/officeDocument/2006/relationships/slideLayout" Target="../slideLayouts/slideLayout1323.xml"/><Relationship Id="rId156" Type="http://schemas.openxmlformats.org/officeDocument/2006/relationships/slideLayout" Target="../slideLayouts/slideLayout1344.xml"/><Relationship Id="rId177" Type="http://schemas.openxmlformats.org/officeDocument/2006/relationships/slideLayout" Target="../slideLayouts/slideLayout1365.xml"/><Relationship Id="rId198" Type="http://schemas.openxmlformats.org/officeDocument/2006/relationships/slideLayout" Target="../slideLayouts/slideLayout1386.xml"/><Relationship Id="rId202" Type="http://schemas.openxmlformats.org/officeDocument/2006/relationships/slideLayout" Target="../slideLayouts/slideLayout1390.xml"/><Relationship Id="rId223" Type="http://schemas.openxmlformats.org/officeDocument/2006/relationships/slideLayout" Target="../slideLayouts/slideLayout1411.xml"/><Relationship Id="rId18" Type="http://schemas.openxmlformats.org/officeDocument/2006/relationships/slideLayout" Target="../slideLayouts/slideLayout1206.xml"/><Relationship Id="rId39" Type="http://schemas.openxmlformats.org/officeDocument/2006/relationships/slideLayout" Target="../slideLayouts/slideLayout1227.xml"/><Relationship Id="rId50" Type="http://schemas.openxmlformats.org/officeDocument/2006/relationships/slideLayout" Target="../slideLayouts/slideLayout1238.xml"/><Relationship Id="rId104" Type="http://schemas.openxmlformats.org/officeDocument/2006/relationships/slideLayout" Target="../slideLayouts/slideLayout1292.xml"/><Relationship Id="rId125" Type="http://schemas.openxmlformats.org/officeDocument/2006/relationships/slideLayout" Target="../slideLayouts/slideLayout1313.xml"/><Relationship Id="rId146" Type="http://schemas.openxmlformats.org/officeDocument/2006/relationships/slideLayout" Target="../slideLayouts/slideLayout1334.xml"/><Relationship Id="rId167" Type="http://schemas.openxmlformats.org/officeDocument/2006/relationships/slideLayout" Target="../slideLayouts/slideLayout1355.xml"/><Relationship Id="rId188" Type="http://schemas.openxmlformats.org/officeDocument/2006/relationships/slideLayout" Target="../slideLayouts/slideLayout1376.xml"/><Relationship Id="rId71" Type="http://schemas.openxmlformats.org/officeDocument/2006/relationships/slideLayout" Target="../slideLayouts/slideLayout1259.xml"/><Relationship Id="rId92" Type="http://schemas.openxmlformats.org/officeDocument/2006/relationships/slideLayout" Target="../slideLayouts/slideLayout1280.xml"/><Relationship Id="rId213" Type="http://schemas.openxmlformats.org/officeDocument/2006/relationships/slideLayout" Target="../slideLayouts/slideLayout1401.xml"/><Relationship Id="rId2" Type="http://schemas.openxmlformats.org/officeDocument/2006/relationships/slideLayout" Target="../slideLayouts/slideLayout1190.xml"/><Relationship Id="rId29" Type="http://schemas.openxmlformats.org/officeDocument/2006/relationships/slideLayout" Target="../slideLayouts/slideLayout1217.xml"/><Relationship Id="rId40" Type="http://schemas.openxmlformats.org/officeDocument/2006/relationships/slideLayout" Target="../slideLayouts/slideLayout1228.xml"/><Relationship Id="rId115" Type="http://schemas.openxmlformats.org/officeDocument/2006/relationships/slideLayout" Target="../slideLayouts/slideLayout1303.xml"/><Relationship Id="rId136" Type="http://schemas.openxmlformats.org/officeDocument/2006/relationships/slideLayout" Target="../slideLayouts/slideLayout1324.xml"/><Relationship Id="rId157" Type="http://schemas.openxmlformats.org/officeDocument/2006/relationships/slideLayout" Target="../slideLayouts/slideLayout1345.xml"/><Relationship Id="rId178" Type="http://schemas.openxmlformats.org/officeDocument/2006/relationships/slideLayout" Target="../slideLayouts/slideLayout1366.xml"/><Relationship Id="rId61" Type="http://schemas.openxmlformats.org/officeDocument/2006/relationships/slideLayout" Target="../slideLayouts/slideLayout1249.xml"/><Relationship Id="rId82" Type="http://schemas.openxmlformats.org/officeDocument/2006/relationships/slideLayout" Target="../slideLayouts/slideLayout1270.xml"/><Relationship Id="rId199" Type="http://schemas.openxmlformats.org/officeDocument/2006/relationships/slideLayout" Target="../slideLayouts/slideLayout1387.xml"/><Relationship Id="rId203" Type="http://schemas.openxmlformats.org/officeDocument/2006/relationships/slideLayout" Target="../slideLayouts/slideLayout1391.xml"/><Relationship Id="rId19" Type="http://schemas.openxmlformats.org/officeDocument/2006/relationships/slideLayout" Target="../slideLayouts/slideLayout1207.xml"/><Relationship Id="rId224" Type="http://schemas.openxmlformats.org/officeDocument/2006/relationships/slideLayout" Target="../slideLayouts/slideLayout1412.xml"/><Relationship Id="rId30" Type="http://schemas.openxmlformats.org/officeDocument/2006/relationships/slideLayout" Target="../slideLayouts/slideLayout1218.xml"/><Relationship Id="rId105" Type="http://schemas.openxmlformats.org/officeDocument/2006/relationships/slideLayout" Target="../slideLayouts/slideLayout1293.xml"/><Relationship Id="rId126" Type="http://schemas.openxmlformats.org/officeDocument/2006/relationships/slideLayout" Target="../slideLayouts/slideLayout1314.xml"/><Relationship Id="rId147" Type="http://schemas.openxmlformats.org/officeDocument/2006/relationships/slideLayout" Target="../slideLayouts/slideLayout1335.xml"/><Relationship Id="rId168" Type="http://schemas.openxmlformats.org/officeDocument/2006/relationships/slideLayout" Target="../slideLayouts/slideLayout1356.xml"/><Relationship Id="rId51" Type="http://schemas.openxmlformats.org/officeDocument/2006/relationships/slideLayout" Target="../slideLayouts/slideLayout1239.xml"/><Relationship Id="rId72" Type="http://schemas.openxmlformats.org/officeDocument/2006/relationships/slideLayout" Target="../slideLayouts/slideLayout1260.xml"/><Relationship Id="rId93" Type="http://schemas.openxmlformats.org/officeDocument/2006/relationships/slideLayout" Target="../slideLayouts/slideLayout1281.xml"/><Relationship Id="rId189" Type="http://schemas.openxmlformats.org/officeDocument/2006/relationships/slideLayout" Target="../slideLayouts/slideLayout1377.xml"/><Relationship Id="rId3" Type="http://schemas.openxmlformats.org/officeDocument/2006/relationships/slideLayout" Target="../slideLayouts/slideLayout1191.xml"/><Relationship Id="rId214" Type="http://schemas.openxmlformats.org/officeDocument/2006/relationships/slideLayout" Target="../slideLayouts/slideLayout14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  <p:sldLayoutId id="2147483719" r:id="rId71"/>
    <p:sldLayoutId id="2147483720" r:id="rId72"/>
    <p:sldLayoutId id="2147483721" r:id="rId73"/>
    <p:sldLayoutId id="2147483722" r:id="rId74"/>
    <p:sldLayoutId id="2147483723" r:id="rId75"/>
    <p:sldLayoutId id="2147483724" r:id="rId76"/>
    <p:sldLayoutId id="2147483725" r:id="rId77"/>
    <p:sldLayoutId id="2147483726" r:id="rId78"/>
    <p:sldLayoutId id="2147483727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3734" r:id="rId86"/>
    <p:sldLayoutId id="2147483735" r:id="rId87"/>
    <p:sldLayoutId id="2147483736" r:id="rId88"/>
    <p:sldLayoutId id="2147483737" r:id="rId89"/>
    <p:sldLayoutId id="2147483738" r:id="rId90"/>
    <p:sldLayoutId id="2147483739" r:id="rId91"/>
    <p:sldLayoutId id="2147483740" r:id="rId92"/>
    <p:sldLayoutId id="2147483741" r:id="rId93"/>
    <p:sldLayoutId id="2147483742" r:id="rId94"/>
    <p:sldLayoutId id="2147483743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3750" r:id="rId102"/>
    <p:sldLayoutId id="2147483751" r:id="rId103"/>
    <p:sldLayoutId id="2147483752" r:id="rId104"/>
    <p:sldLayoutId id="2147483753" r:id="rId105"/>
    <p:sldLayoutId id="2147483754" r:id="rId106"/>
    <p:sldLayoutId id="2147483755" r:id="rId107"/>
    <p:sldLayoutId id="2147483756" r:id="rId108"/>
    <p:sldLayoutId id="2147483757" r:id="rId109"/>
    <p:sldLayoutId id="2147483758" r:id="rId110"/>
    <p:sldLayoutId id="2147483759" r:id="rId111"/>
    <p:sldLayoutId id="2147483760" r:id="rId112"/>
    <p:sldLayoutId id="2147483761" r:id="rId113"/>
    <p:sldLayoutId id="2147483762" r:id="rId114"/>
    <p:sldLayoutId id="2147483763" r:id="rId115"/>
    <p:sldLayoutId id="2147483764" r:id="rId116"/>
    <p:sldLayoutId id="2147483765" r:id="rId117"/>
    <p:sldLayoutId id="2147483766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3775" r:id="rId127"/>
    <p:sldLayoutId id="2147483776" r:id="rId128"/>
    <p:sldLayoutId id="2147483777" r:id="rId129"/>
    <p:sldLayoutId id="2147483778" r:id="rId130"/>
    <p:sldLayoutId id="2147483779" r:id="rId131"/>
    <p:sldLayoutId id="2147483780" r:id="rId132"/>
    <p:sldLayoutId id="2147483781" r:id="rId133"/>
    <p:sldLayoutId id="2147483782" r:id="rId134"/>
    <p:sldLayoutId id="2147483783" r:id="rId135"/>
    <p:sldLayoutId id="2147483784" r:id="rId136"/>
    <p:sldLayoutId id="2147483785" r:id="rId137"/>
    <p:sldLayoutId id="2147483786" r:id="rId138"/>
    <p:sldLayoutId id="2147483787" r:id="rId139"/>
    <p:sldLayoutId id="2147483788" r:id="rId140"/>
    <p:sldLayoutId id="2147483789" r:id="rId141"/>
    <p:sldLayoutId id="2147483790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3799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3806" r:id="rId158"/>
    <p:sldLayoutId id="2147483807" r:id="rId159"/>
    <p:sldLayoutId id="2147483808" r:id="rId160"/>
    <p:sldLayoutId id="2147483809" r:id="rId161"/>
    <p:sldLayoutId id="2147483810" r:id="rId162"/>
    <p:sldLayoutId id="2147483811" r:id="rId163"/>
    <p:sldLayoutId id="2147483812" r:id="rId164"/>
    <p:sldLayoutId id="2147483813" r:id="rId165"/>
    <p:sldLayoutId id="2147483814" r:id="rId166"/>
    <p:sldLayoutId id="2147483815" r:id="rId167"/>
    <p:sldLayoutId id="2147483816" r:id="rId168"/>
    <p:sldLayoutId id="2147483817" r:id="rId169"/>
    <p:sldLayoutId id="2147483818" r:id="rId170"/>
    <p:sldLayoutId id="2147483819" r:id="rId171"/>
    <p:sldLayoutId id="2147483820" r:id="rId172"/>
    <p:sldLayoutId id="2147483821" r:id="rId173"/>
    <p:sldLayoutId id="2147483822" r:id="rId174"/>
    <p:sldLayoutId id="2147483823" r:id="rId175"/>
    <p:sldLayoutId id="2147483824" r:id="rId176"/>
    <p:sldLayoutId id="2147483825" r:id="rId177"/>
    <p:sldLayoutId id="2147483826" r:id="rId178"/>
    <p:sldLayoutId id="2147483827" r:id="rId179"/>
    <p:sldLayoutId id="2147483828" r:id="rId180"/>
    <p:sldLayoutId id="2147483829" r:id="rId181"/>
    <p:sldLayoutId id="2147483830" r:id="rId182"/>
    <p:sldLayoutId id="2147483831" r:id="rId183"/>
    <p:sldLayoutId id="2147483832" r:id="rId184"/>
    <p:sldLayoutId id="2147483833" r:id="rId185"/>
    <p:sldLayoutId id="2147483834" r:id="rId186"/>
    <p:sldLayoutId id="2147483835" r:id="rId187"/>
    <p:sldLayoutId id="2147483836" r:id="rId188"/>
    <p:sldLayoutId id="2147483837" r:id="rId189"/>
    <p:sldLayoutId id="2147483838" r:id="rId190"/>
    <p:sldLayoutId id="2147483839" r:id="rId191"/>
    <p:sldLayoutId id="2147483840" r:id="rId192"/>
    <p:sldLayoutId id="2147483841" r:id="rId193"/>
    <p:sldLayoutId id="2147483842" r:id="rId194"/>
    <p:sldLayoutId id="2147483843" r:id="rId195"/>
    <p:sldLayoutId id="2147483844" r:id="rId196"/>
    <p:sldLayoutId id="2147483845" r:id="rId197"/>
    <p:sldLayoutId id="2147483846" r:id="rId198"/>
    <p:sldLayoutId id="2147483847" r:id="rId199"/>
    <p:sldLayoutId id="2147483848" r:id="rId200"/>
    <p:sldLayoutId id="2147483849" r:id="rId201"/>
    <p:sldLayoutId id="2147483850" r:id="rId202"/>
    <p:sldLayoutId id="2147483851" r:id="rId203"/>
    <p:sldLayoutId id="2147483852" r:id="rId204"/>
    <p:sldLayoutId id="2147483853" r:id="rId205"/>
    <p:sldLayoutId id="2147483854" r:id="rId206"/>
    <p:sldLayoutId id="2147483855" r:id="rId207"/>
    <p:sldLayoutId id="2147483856" r:id="rId208"/>
    <p:sldLayoutId id="2147483857" r:id="rId209"/>
    <p:sldLayoutId id="2147483858" r:id="rId210"/>
    <p:sldLayoutId id="2147483859" r:id="rId211"/>
    <p:sldLayoutId id="2147483860" r:id="rId212"/>
    <p:sldLayoutId id="2147483861" r:id="rId213"/>
    <p:sldLayoutId id="2147483862" r:id="rId214"/>
    <p:sldLayoutId id="2147483863" r:id="rId215"/>
    <p:sldLayoutId id="2147483864" r:id="rId216"/>
    <p:sldLayoutId id="2147483865" r:id="rId217"/>
    <p:sldLayoutId id="2147483866" r:id="rId218"/>
    <p:sldLayoutId id="2147483867" r:id="rId219"/>
    <p:sldLayoutId id="2147483868" r:id="rId220"/>
    <p:sldLayoutId id="2147483869" r:id="rId221"/>
    <p:sldLayoutId id="2147483870" r:id="rId222"/>
    <p:sldLayoutId id="2147483871" r:id="rId223"/>
    <p:sldLayoutId id="2147483872" r:id="rId224"/>
    <p:sldLayoutId id="2147483873" r:id="rId225"/>
    <p:sldLayoutId id="2147483874" r:id="rId226"/>
    <p:sldLayoutId id="2147483875" r:id="rId227"/>
    <p:sldLayoutId id="2147483876" r:id="rId228"/>
    <p:sldLayoutId id="2147483877" r:id="rId229"/>
    <p:sldLayoutId id="2147483878" r:id="rId230"/>
    <p:sldLayoutId id="2147483879" r:id="rId231"/>
    <p:sldLayoutId id="2147483880" r:id="rId232"/>
    <p:sldLayoutId id="2147483881" r:id="rId233"/>
    <p:sldLayoutId id="2147483882" r:id="rId234"/>
    <p:sldLayoutId id="2147483883" r:id="rId235"/>
    <p:sldLayoutId id="2147483884" r:id="rId236"/>
    <p:sldLayoutId id="2147483885" r:id="rId237"/>
    <p:sldLayoutId id="2147483886" r:id="rId238"/>
    <p:sldLayoutId id="2147483887" r:id="rId239"/>
    <p:sldLayoutId id="2147483888" r:id="rId240"/>
    <p:sldLayoutId id="2147483889" r:id="rId241"/>
    <p:sldLayoutId id="2147483890" r:id="rId242"/>
    <p:sldLayoutId id="2147483891" r:id="rId243"/>
    <p:sldLayoutId id="2147483892" r:id="rId244"/>
    <p:sldLayoutId id="2147483893" r:id="rId245"/>
    <p:sldLayoutId id="2147483894" r:id="rId246"/>
    <p:sldLayoutId id="2147483895" r:id="rId247"/>
    <p:sldLayoutId id="2147483896" r:id="rId248"/>
    <p:sldLayoutId id="2147483897" r:id="rId249"/>
    <p:sldLayoutId id="2147483898" r:id="rId250"/>
    <p:sldLayoutId id="2147483899" r:id="rId251"/>
    <p:sldLayoutId id="2147483900" r:id="rId252"/>
    <p:sldLayoutId id="2147483901" r:id="rId253"/>
    <p:sldLayoutId id="2147483902" r:id="rId254"/>
    <p:sldLayoutId id="2147483903" r:id="rId255"/>
    <p:sldLayoutId id="2147483904" r:id="rId256"/>
    <p:sldLayoutId id="2147483905" r:id="rId257"/>
    <p:sldLayoutId id="2147483906" r:id="rId258"/>
    <p:sldLayoutId id="2147483907" r:id="rId259"/>
    <p:sldLayoutId id="2147483908" r:id="rId260"/>
    <p:sldLayoutId id="2147483909" r:id="rId261"/>
    <p:sldLayoutId id="2147483910" r:id="rId262"/>
    <p:sldLayoutId id="2147483911" r:id="rId263"/>
    <p:sldLayoutId id="2147483912" r:id="rId264"/>
    <p:sldLayoutId id="2147483913" r:id="rId265"/>
    <p:sldLayoutId id="2147483914" r:id="rId266"/>
    <p:sldLayoutId id="2147483915" r:id="rId267"/>
    <p:sldLayoutId id="2147483916" r:id="rId268"/>
    <p:sldLayoutId id="2147483917" r:id="rId269"/>
    <p:sldLayoutId id="2147483918" r:id="rId270"/>
    <p:sldLayoutId id="2147483919" r:id="rId271"/>
    <p:sldLayoutId id="2147483920" r:id="rId27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4" name="Google Shape;2694;p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95" name="Google Shape;2695;p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6" name="Google Shape;2696;p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97" name="Google Shape;2697;p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3996" r:id="rId75"/>
    <p:sldLayoutId id="2147483997" r:id="rId76"/>
    <p:sldLayoutId id="2147483998" r:id="rId77"/>
    <p:sldLayoutId id="2147483999" r:id="rId78"/>
    <p:sldLayoutId id="2147484000" r:id="rId79"/>
    <p:sldLayoutId id="2147484001" r:id="rId80"/>
    <p:sldLayoutId id="2147484002" r:id="rId81"/>
    <p:sldLayoutId id="2147484003" r:id="rId82"/>
    <p:sldLayoutId id="2147484004" r:id="rId83"/>
    <p:sldLayoutId id="2147484005" r:id="rId84"/>
    <p:sldLayoutId id="2147484006" r:id="rId85"/>
    <p:sldLayoutId id="2147484007" r:id="rId86"/>
    <p:sldLayoutId id="2147484008" r:id="rId87"/>
    <p:sldLayoutId id="2147484009" r:id="rId88"/>
    <p:sldLayoutId id="2147484010" r:id="rId89"/>
    <p:sldLayoutId id="2147484011" r:id="rId90"/>
    <p:sldLayoutId id="2147484012" r:id="rId91"/>
    <p:sldLayoutId id="2147484013" r:id="rId92"/>
    <p:sldLayoutId id="2147484014" r:id="rId93"/>
    <p:sldLayoutId id="2147484015" r:id="rId94"/>
    <p:sldLayoutId id="2147484016" r:id="rId95"/>
    <p:sldLayoutId id="2147484017" r:id="rId96"/>
    <p:sldLayoutId id="2147484018" r:id="rId97"/>
    <p:sldLayoutId id="2147484019" r:id="rId98"/>
    <p:sldLayoutId id="2147484020" r:id="rId99"/>
    <p:sldLayoutId id="2147484021" r:id="rId100"/>
    <p:sldLayoutId id="2147484022" r:id="rId101"/>
    <p:sldLayoutId id="2147484023" r:id="rId102"/>
    <p:sldLayoutId id="2147484024" r:id="rId103"/>
    <p:sldLayoutId id="2147484025" r:id="rId104"/>
    <p:sldLayoutId id="2147484026" r:id="rId105"/>
    <p:sldLayoutId id="2147484027" r:id="rId106"/>
    <p:sldLayoutId id="2147484028" r:id="rId107"/>
    <p:sldLayoutId id="2147484029" r:id="rId108"/>
    <p:sldLayoutId id="2147484030" r:id="rId109"/>
    <p:sldLayoutId id="2147484031" r:id="rId110"/>
    <p:sldLayoutId id="2147484032" r:id="rId111"/>
    <p:sldLayoutId id="2147484033" r:id="rId112"/>
    <p:sldLayoutId id="2147484034" r:id="rId113"/>
    <p:sldLayoutId id="2147484035" r:id="rId114"/>
    <p:sldLayoutId id="2147484036" r:id="rId115"/>
    <p:sldLayoutId id="2147484037" r:id="rId116"/>
    <p:sldLayoutId id="2147484038" r:id="rId117"/>
    <p:sldLayoutId id="2147484039" r:id="rId118"/>
    <p:sldLayoutId id="2147484040" r:id="rId119"/>
    <p:sldLayoutId id="2147484041" r:id="rId120"/>
    <p:sldLayoutId id="2147484042" r:id="rId121"/>
    <p:sldLayoutId id="2147484043" r:id="rId122"/>
    <p:sldLayoutId id="2147484044" r:id="rId123"/>
    <p:sldLayoutId id="2147484045" r:id="rId124"/>
    <p:sldLayoutId id="2147484046" r:id="rId125"/>
    <p:sldLayoutId id="2147484047" r:id="rId126"/>
    <p:sldLayoutId id="2147484048" r:id="rId127"/>
    <p:sldLayoutId id="2147484049" r:id="rId128"/>
    <p:sldLayoutId id="2147484050" r:id="rId129"/>
    <p:sldLayoutId id="2147484051" r:id="rId130"/>
    <p:sldLayoutId id="2147484052" r:id="rId131"/>
    <p:sldLayoutId id="2147484053" r:id="rId132"/>
    <p:sldLayoutId id="2147484054" r:id="rId133"/>
    <p:sldLayoutId id="2147484055" r:id="rId134"/>
    <p:sldLayoutId id="2147484056" r:id="rId135"/>
    <p:sldLayoutId id="2147484057" r:id="rId136"/>
    <p:sldLayoutId id="2147484058" r:id="rId137"/>
    <p:sldLayoutId id="2147484059" r:id="rId138"/>
    <p:sldLayoutId id="2147484060" r:id="rId139"/>
    <p:sldLayoutId id="2147484061" r:id="rId140"/>
    <p:sldLayoutId id="2147484062" r:id="rId141"/>
    <p:sldLayoutId id="2147484063" r:id="rId142"/>
    <p:sldLayoutId id="2147484064" r:id="rId143"/>
    <p:sldLayoutId id="2147484065" r:id="rId144"/>
    <p:sldLayoutId id="2147484066" r:id="rId145"/>
    <p:sldLayoutId id="2147484067" r:id="rId146"/>
    <p:sldLayoutId id="2147484068" r:id="rId147"/>
    <p:sldLayoutId id="2147484069" r:id="rId148"/>
    <p:sldLayoutId id="2147484070" r:id="rId14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2" name="Google Shape;4182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83" name="Google Shape;4183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4" name="Google Shape;4184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85" name="Google Shape;4185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  <p:sldLayoutId id="2147484095" r:id="rId24"/>
    <p:sldLayoutId id="2147484096" r:id="rId25"/>
    <p:sldLayoutId id="2147484097" r:id="rId26"/>
    <p:sldLayoutId id="2147484098" r:id="rId27"/>
    <p:sldLayoutId id="2147484099" r:id="rId28"/>
    <p:sldLayoutId id="2147484100" r:id="rId29"/>
    <p:sldLayoutId id="2147484101" r:id="rId30"/>
    <p:sldLayoutId id="2147484102" r:id="rId31"/>
    <p:sldLayoutId id="2147484103" r:id="rId32"/>
    <p:sldLayoutId id="2147484104" r:id="rId33"/>
    <p:sldLayoutId id="2147484105" r:id="rId34"/>
    <p:sldLayoutId id="2147484106" r:id="rId35"/>
    <p:sldLayoutId id="2147484107" r:id="rId36"/>
    <p:sldLayoutId id="2147484108" r:id="rId37"/>
    <p:sldLayoutId id="2147484109" r:id="rId38"/>
    <p:sldLayoutId id="2147484110" r:id="rId39"/>
    <p:sldLayoutId id="2147484111" r:id="rId40"/>
    <p:sldLayoutId id="2147484112" r:id="rId41"/>
    <p:sldLayoutId id="2147484113" r:id="rId42"/>
    <p:sldLayoutId id="2147484114" r:id="rId43"/>
    <p:sldLayoutId id="2147484115" r:id="rId44"/>
    <p:sldLayoutId id="2147484116" r:id="rId45"/>
    <p:sldLayoutId id="2147484117" r:id="rId46"/>
    <p:sldLayoutId id="2147484118" r:id="rId47"/>
    <p:sldLayoutId id="2147484119" r:id="rId48"/>
    <p:sldLayoutId id="2147484120" r:id="rId49"/>
    <p:sldLayoutId id="2147484121" r:id="rId50"/>
    <p:sldLayoutId id="2147484122" r:id="rId51"/>
    <p:sldLayoutId id="2147484123" r:id="rId52"/>
    <p:sldLayoutId id="2147484124" r:id="rId53"/>
    <p:sldLayoutId id="2147484125" r:id="rId54"/>
    <p:sldLayoutId id="2147484126" r:id="rId55"/>
    <p:sldLayoutId id="2147484127" r:id="rId56"/>
    <p:sldLayoutId id="2147484128" r:id="rId57"/>
    <p:sldLayoutId id="2147484129" r:id="rId58"/>
    <p:sldLayoutId id="2147484130" r:id="rId59"/>
    <p:sldLayoutId id="2147484131" r:id="rId60"/>
    <p:sldLayoutId id="2147484132" r:id="rId61"/>
    <p:sldLayoutId id="2147484133" r:id="rId62"/>
    <p:sldLayoutId id="2147484134" r:id="rId63"/>
    <p:sldLayoutId id="2147484135" r:id="rId64"/>
    <p:sldLayoutId id="2147484136" r:id="rId65"/>
    <p:sldLayoutId id="2147484137" r:id="rId66"/>
    <p:sldLayoutId id="2147484138" r:id="rId67"/>
    <p:sldLayoutId id="2147484139" r:id="rId68"/>
    <p:sldLayoutId id="2147484140" r:id="rId69"/>
    <p:sldLayoutId id="2147484141" r:id="rId70"/>
    <p:sldLayoutId id="2147484142" r:id="rId71"/>
    <p:sldLayoutId id="2147484143" r:id="rId72"/>
    <p:sldLayoutId id="2147484144" r:id="rId73"/>
    <p:sldLayoutId id="2147484145" r:id="rId74"/>
    <p:sldLayoutId id="2147484146" r:id="rId75"/>
    <p:sldLayoutId id="2147484147" r:id="rId76"/>
    <p:sldLayoutId id="2147484148" r:id="rId77"/>
    <p:sldLayoutId id="2147484149" r:id="rId78"/>
    <p:sldLayoutId id="2147484150" r:id="rId79"/>
    <p:sldLayoutId id="2147484151" r:id="rId80"/>
    <p:sldLayoutId id="2147484152" r:id="rId81"/>
    <p:sldLayoutId id="2147484153" r:id="rId82"/>
    <p:sldLayoutId id="2147484154" r:id="rId83"/>
    <p:sldLayoutId id="2147484155" r:id="rId84"/>
    <p:sldLayoutId id="2147484156" r:id="rId85"/>
    <p:sldLayoutId id="2147484157" r:id="rId86"/>
    <p:sldLayoutId id="2147484158" r:id="rId87"/>
    <p:sldLayoutId id="2147484159" r:id="rId88"/>
    <p:sldLayoutId id="2147484160" r:id="rId89"/>
    <p:sldLayoutId id="2147484161" r:id="rId90"/>
    <p:sldLayoutId id="2147484162" r:id="rId91"/>
    <p:sldLayoutId id="2147484163" r:id="rId92"/>
    <p:sldLayoutId id="2147484164" r:id="rId93"/>
    <p:sldLayoutId id="2147484165" r:id="rId94"/>
    <p:sldLayoutId id="2147484166" r:id="rId95"/>
    <p:sldLayoutId id="2147484167" r:id="rId96"/>
    <p:sldLayoutId id="2147484168" r:id="rId97"/>
    <p:sldLayoutId id="2147484169" r:id="rId98"/>
    <p:sldLayoutId id="2147484170" r:id="rId99"/>
    <p:sldLayoutId id="2147484171" r:id="rId100"/>
    <p:sldLayoutId id="2147484172" r:id="rId101"/>
    <p:sldLayoutId id="2147484173" r:id="rId102"/>
    <p:sldLayoutId id="2147484174" r:id="rId103"/>
    <p:sldLayoutId id="2147484175" r:id="rId104"/>
    <p:sldLayoutId id="2147484176" r:id="rId105"/>
    <p:sldLayoutId id="2147484177" r:id="rId106"/>
    <p:sldLayoutId id="2147484178" r:id="rId107"/>
    <p:sldLayoutId id="2147484179" r:id="rId108"/>
    <p:sldLayoutId id="2147484180" r:id="rId109"/>
    <p:sldLayoutId id="2147484181" r:id="rId110"/>
    <p:sldLayoutId id="2147484182" r:id="rId111"/>
    <p:sldLayoutId id="2147484183" r:id="rId112"/>
    <p:sldLayoutId id="2147484184" r:id="rId113"/>
    <p:sldLayoutId id="2147484185" r:id="rId114"/>
    <p:sldLayoutId id="2147484186" r:id="rId115"/>
    <p:sldLayoutId id="2147484187" r:id="rId116"/>
    <p:sldLayoutId id="2147484188" r:id="rId117"/>
    <p:sldLayoutId id="2147484189" r:id="rId118"/>
    <p:sldLayoutId id="2147484190" r:id="rId119"/>
    <p:sldLayoutId id="2147484191" r:id="rId120"/>
    <p:sldLayoutId id="2147484192" r:id="rId121"/>
    <p:sldLayoutId id="2147484193" r:id="rId122"/>
    <p:sldLayoutId id="2147484194" r:id="rId123"/>
    <p:sldLayoutId id="2147484195" r:id="rId124"/>
    <p:sldLayoutId id="2147484196" r:id="rId125"/>
    <p:sldLayoutId id="2147484197" r:id="rId126"/>
    <p:sldLayoutId id="2147484198" r:id="rId127"/>
    <p:sldLayoutId id="2147484199" r:id="rId128"/>
    <p:sldLayoutId id="2147484200" r:id="rId129"/>
    <p:sldLayoutId id="2147484201" r:id="rId130"/>
    <p:sldLayoutId id="2147484202" r:id="rId131"/>
    <p:sldLayoutId id="2147484203" r:id="rId132"/>
    <p:sldLayoutId id="2147484204" r:id="rId133"/>
    <p:sldLayoutId id="2147484205" r:id="rId134"/>
    <p:sldLayoutId id="2147484206" r:id="rId135"/>
    <p:sldLayoutId id="2147484207" r:id="rId136"/>
    <p:sldLayoutId id="2147484208" r:id="rId137"/>
    <p:sldLayoutId id="2147484209" r:id="rId138"/>
    <p:sldLayoutId id="2147484210" r:id="rId139"/>
    <p:sldLayoutId id="2147484211" r:id="rId140"/>
    <p:sldLayoutId id="2147484212" r:id="rId141"/>
    <p:sldLayoutId id="2147484213" r:id="rId142"/>
    <p:sldLayoutId id="2147484214" r:id="rId143"/>
    <p:sldLayoutId id="2147484215" r:id="rId144"/>
    <p:sldLayoutId id="2147484216" r:id="rId145"/>
    <p:sldLayoutId id="2147484217" r:id="rId146"/>
    <p:sldLayoutId id="2147484218" r:id="rId147"/>
    <p:sldLayoutId id="2147484219" r:id="rId148"/>
    <p:sldLayoutId id="2147484220" r:id="rId149"/>
    <p:sldLayoutId id="2147484221" r:id="rId150"/>
    <p:sldLayoutId id="2147484222" r:id="rId151"/>
    <p:sldLayoutId id="2147484223" r:id="rId152"/>
    <p:sldLayoutId id="2147484224" r:id="rId153"/>
    <p:sldLayoutId id="2147484225" r:id="rId154"/>
    <p:sldLayoutId id="2147484226" r:id="rId155"/>
    <p:sldLayoutId id="2147484227" r:id="rId156"/>
    <p:sldLayoutId id="2147484228" r:id="rId157"/>
    <p:sldLayoutId id="2147484229" r:id="rId158"/>
    <p:sldLayoutId id="2147484230" r:id="rId159"/>
    <p:sldLayoutId id="2147484231" r:id="rId160"/>
    <p:sldLayoutId id="2147484232" r:id="rId161"/>
    <p:sldLayoutId id="2147484233" r:id="rId162"/>
    <p:sldLayoutId id="2147484234" r:id="rId163"/>
    <p:sldLayoutId id="2147484235" r:id="rId164"/>
    <p:sldLayoutId id="2147484236" r:id="rId165"/>
    <p:sldLayoutId id="2147484237" r:id="rId166"/>
    <p:sldLayoutId id="2147484238" r:id="rId167"/>
    <p:sldLayoutId id="2147484239" r:id="rId168"/>
    <p:sldLayoutId id="2147484240" r:id="rId169"/>
    <p:sldLayoutId id="2147484241" r:id="rId170"/>
    <p:sldLayoutId id="2147484242" r:id="rId171"/>
    <p:sldLayoutId id="2147484243" r:id="rId172"/>
    <p:sldLayoutId id="2147484244" r:id="rId173"/>
    <p:sldLayoutId id="2147484245" r:id="rId174"/>
    <p:sldLayoutId id="2147484246" r:id="rId175"/>
    <p:sldLayoutId id="2147484247" r:id="rId176"/>
    <p:sldLayoutId id="2147484248" r:id="rId177"/>
    <p:sldLayoutId id="2147484249" r:id="rId178"/>
    <p:sldLayoutId id="2147484250" r:id="rId179"/>
    <p:sldLayoutId id="2147484251" r:id="rId180"/>
    <p:sldLayoutId id="2147484252" r:id="rId181"/>
    <p:sldLayoutId id="2147484253" r:id="rId182"/>
    <p:sldLayoutId id="2147484254" r:id="rId183"/>
    <p:sldLayoutId id="2147484255" r:id="rId184"/>
    <p:sldLayoutId id="2147484256" r:id="rId185"/>
    <p:sldLayoutId id="2147484257" r:id="rId186"/>
    <p:sldLayoutId id="2147484258" r:id="rId187"/>
    <p:sldLayoutId id="2147484259" r:id="rId188"/>
    <p:sldLayoutId id="2147484260" r:id="rId189"/>
    <p:sldLayoutId id="2147484261" r:id="rId190"/>
    <p:sldLayoutId id="2147484262" r:id="rId191"/>
    <p:sldLayoutId id="2147484263" r:id="rId192"/>
    <p:sldLayoutId id="2147484264" r:id="rId193"/>
    <p:sldLayoutId id="2147484265" r:id="rId194"/>
    <p:sldLayoutId id="2147484266" r:id="rId195"/>
    <p:sldLayoutId id="2147484267" r:id="rId196"/>
    <p:sldLayoutId id="2147484268" r:id="rId197"/>
    <p:sldLayoutId id="2147484269" r:id="rId198"/>
    <p:sldLayoutId id="2147484270" r:id="rId199"/>
    <p:sldLayoutId id="2147484271" r:id="rId200"/>
    <p:sldLayoutId id="2147484272" r:id="rId201"/>
    <p:sldLayoutId id="2147484273" r:id="rId202"/>
    <p:sldLayoutId id="2147484274" r:id="rId203"/>
    <p:sldLayoutId id="2147484275" r:id="rId204"/>
    <p:sldLayoutId id="2147484276" r:id="rId205"/>
    <p:sldLayoutId id="2147484277" r:id="rId206"/>
    <p:sldLayoutId id="2147484278" r:id="rId207"/>
    <p:sldLayoutId id="2147484279" r:id="rId208"/>
    <p:sldLayoutId id="2147484280" r:id="rId209"/>
    <p:sldLayoutId id="2147484281" r:id="rId210"/>
    <p:sldLayoutId id="2147484282" r:id="rId211"/>
    <p:sldLayoutId id="2147484283" r:id="rId212"/>
    <p:sldLayoutId id="2147484284" r:id="rId213"/>
    <p:sldLayoutId id="2147484285" r:id="rId214"/>
    <p:sldLayoutId id="2147484286" r:id="rId215"/>
    <p:sldLayoutId id="2147484287" r:id="rId216"/>
    <p:sldLayoutId id="2147484288" r:id="rId217"/>
    <p:sldLayoutId id="2147484289" r:id="rId218"/>
    <p:sldLayoutId id="2147484290" r:id="rId219"/>
    <p:sldLayoutId id="2147484291" r:id="rId220"/>
    <p:sldLayoutId id="2147484292" r:id="rId221"/>
    <p:sldLayoutId id="2147484293" r:id="rId222"/>
    <p:sldLayoutId id="2147484294" r:id="rId223"/>
    <p:sldLayoutId id="2147484295" r:id="rId224"/>
    <p:sldLayoutId id="2147484296" r:id="rId225"/>
    <p:sldLayoutId id="2147484297" r:id="rId226"/>
    <p:sldLayoutId id="2147484298" r:id="rId227"/>
    <p:sldLayoutId id="2147484299" r:id="rId228"/>
    <p:sldLayoutId id="2147484300" r:id="rId229"/>
    <p:sldLayoutId id="2147484301" r:id="rId230"/>
    <p:sldLayoutId id="2147484302" r:id="rId231"/>
    <p:sldLayoutId id="2147484303" r:id="rId232"/>
    <p:sldLayoutId id="2147484304" r:id="rId233"/>
    <p:sldLayoutId id="2147484305" r:id="rId234"/>
    <p:sldLayoutId id="2147484306" r:id="rId235"/>
    <p:sldLayoutId id="2147484307" r:id="rId236"/>
    <p:sldLayoutId id="2147484308" r:id="rId237"/>
    <p:sldLayoutId id="2147484309" r:id="rId238"/>
    <p:sldLayoutId id="2147484310" r:id="rId239"/>
    <p:sldLayoutId id="2147484311" r:id="rId240"/>
    <p:sldLayoutId id="2147484312" r:id="rId241"/>
    <p:sldLayoutId id="2147484313" r:id="rId242"/>
    <p:sldLayoutId id="2147484314" r:id="rId243"/>
    <p:sldLayoutId id="2147484315" r:id="rId244"/>
    <p:sldLayoutId id="2147484316" r:id="rId245"/>
    <p:sldLayoutId id="2147484317" r:id="rId246"/>
    <p:sldLayoutId id="2147484318" r:id="rId247"/>
    <p:sldLayoutId id="2147484319" r:id="rId248"/>
    <p:sldLayoutId id="2147484320" r:id="rId249"/>
    <p:sldLayoutId id="2147484321" r:id="rId250"/>
    <p:sldLayoutId id="2147484322" r:id="rId251"/>
    <p:sldLayoutId id="2147484323" r:id="rId252"/>
    <p:sldLayoutId id="2147484324" r:id="rId253"/>
    <p:sldLayoutId id="2147484325" r:id="rId254"/>
    <p:sldLayoutId id="2147484326" r:id="rId255"/>
    <p:sldLayoutId id="2147484327" r:id="rId256"/>
    <p:sldLayoutId id="2147484328" r:id="rId257"/>
    <p:sldLayoutId id="2147484329" r:id="rId258"/>
    <p:sldLayoutId id="2147484330" r:id="rId259"/>
    <p:sldLayoutId id="2147484331" r:id="rId260"/>
    <p:sldLayoutId id="2147484332" r:id="rId261"/>
    <p:sldLayoutId id="2147484333" r:id="rId262"/>
    <p:sldLayoutId id="2147484334" r:id="rId263"/>
    <p:sldLayoutId id="2147484335" r:id="rId264"/>
    <p:sldLayoutId id="2147484336" r:id="rId265"/>
    <p:sldLayoutId id="2147484337" r:id="rId266"/>
    <p:sldLayoutId id="2147484338" r:id="rId267"/>
    <p:sldLayoutId id="2147484339" r:id="rId268"/>
    <p:sldLayoutId id="2147484340" r:id="rId269"/>
    <p:sldLayoutId id="2147484341" r:id="rId270"/>
    <p:sldLayoutId id="2147484342" r:id="rId271"/>
    <p:sldLayoutId id="2147484343" r:id="rId272"/>
    <p:sldLayoutId id="2147484344" r:id="rId273"/>
    <p:sldLayoutId id="2147484345" r:id="rId274"/>
    <p:sldLayoutId id="2147484346" r:id="rId275"/>
    <p:sldLayoutId id="2147484347" r:id="rId276"/>
    <p:sldLayoutId id="2147484348" r:id="rId277"/>
    <p:sldLayoutId id="2147484349" r:id="rId278"/>
    <p:sldLayoutId id="2147484350" r:id="rId279"/>
    <p:sldLayoutId id="2147484351" r:id="rId280"/>
    <p:sldLayoutId id="2147484352" r:id="rId281"/>
    <p:sldLayoutId id="2147484353" r:id="rId282"/>
    <p:sldLayoutId id="2147484354" r:id="rId283"/>
    <p:sldLayoutId id="2147484355" r:id="rId284"/>
    <p:sldLayoutId id="2147484356" r:id="rId285"/>
    <p:sldLayoutId id="2147484357" r:id="rId286"/>
    <p:sldLayoutId id="2147484358" r:id="rId287"/>
    <p:sldLayoutId id="2147484359" r:id="rId288"/>
    <p:sldLayoutId id="2147484360" r:id="rId289"/>
    <p:sldLayoutId id="2147484361" r:id="rId290"/>
    <p:sldLayoutId id="2147484362" r:id="rId291"/>
    <p:sldLayoutId id="2147484363" r:id="rId292"/>
    <p:sldLayoutId id="2147484364" r:id="rId293"/>
    <p:sldLayoutId id="2147484365" r:id="rId294"/>
    <p:sldLayoutId id="2147484366" r:id="rId295"/>
    <p:sldLayoutId id="2147484367" r:id="rId296"/>
    <p:sldLayoutId id="2147484368" r:id="rId297"/>
    <p:sldLayoutId id="2147484369" r:id="rId298"/>
    <p:sldLayoutId id="2147484370" r:id="rId299"/>
    <p:sldLayoutId id="2147484371" r:id="rId300"/>
    <p:sldLayoutId id="2147484372" r:id="rId301"/>
    <p:sldLayoutId id="2147484373" r:id="rId302"/>
    <p:sldLayoutId id="2147484374" r:id="rId303"/>
    <p:sldLayoutId id="2147484375" r:id="rId304"/>
    <p:sldLayoutId id="2147484376" r:id="rId305"/>
    <p:sldLayoutId id="2147484377" r:id="rId306"/>
    <p:sldLayoutId id="2147484378" r:id="rId307"/>
    <p:sldLayoutId id="2147484379" r:id="rId308"/>
    <p:sldLayoutId id="2147484380" r:id="rId309"/>
    <p:sldLayoutId id="2147484381" r:id="rId310"/>
    <p:sldLayoutId id="2147484382" r:id="rId311"/>
    <p:sldLayoutId id="2147484383" r:id="rId312"/>
    <p:sldLayoutId id="2147484384" r:id="rId313"/>
    <p:sldLayoutId id="2147484385" r:id="rId314"/>
    <p:sldLayoutId id="2147484386" r:id="rId315"/>
    <p:sldLayoutId id="2147484387" r:id="rId316"/>
    <p:sldLayoutId id="2147484388" r:id="rId317"/>
    <p:sldLayoutId id="2147484389" r:id="rId318"/>
    <p:sldLayoutId id="2147484390" r:id="rId319"/>
    <p:sldLayoutId id="2147484391" r:id="rId320"/>
    <p:sldLayoutId id="2147484392" r:id="rId321"/>
    <p:sldLayoutId id="2147484393" r:id="rId322"/>
    <p:sldLayoutId id="2147484394" r:id="rId323"/>
    <p:sldLayoutId id="2147484395" r:id="rId324"/>
    <p:sldLayoutId id="2147484396" r:id="rId325"/>
    <p:sldLayoutId id="2147484397" r:id="rId326"/>
    <p:sldLayoutId id="2147484398" r:id="rId327"/>
    <p:sldLayoutId id="2147484399" r:id="rId328"/>
    <p:sldLayoutId id="2147484400" r:id="rId329"/>
    <p:sldLayoutId id="2147484401" r:id="rId330"/>
    <p:sldLayoutId id="2147484402" r:id="rId331"/>
    <p:sldLayoutId id="2147484403" r:id="rId332"/>
    <p:sldLayoutId id="2147484404" r:id="rId333"/>
    <p:sldLayoutId id="2147484405" r:id="rId334"/>
    <p:sldLayoutId id="2147484406" r:id="rId335"/>
    <p:sldLayoutId id="2147484407" r:id="rId336"/>
    <p:sldLayoutId id="2147484408" r:id="rId337"/>
    <p:sldLayoutId id="2147484409" r:id="rId338"/>
    <p:sldLayoutId id="2147484410" r:id="rId339"/>
    <p:sldLayoutId id="2147484411" r:id="rId340"/>
    <p:sldLayoutId id="2147484412" r:id="rId341"/>
    <p:sldLayoutId id="2147484413" r:id="rId342"/>
    <p:sldLayoutId id="2147484414" r:id="rId343"/>
    <p:sldLayoutId id="2147484415" r:id="rId344"/>
    <p:sldLayoutId id="2147484416" r:id="rId345"/>
    <p:sldLayoutId id="2147484417" r:id="rId346"/>
    <p:sldLayoutId id="2147484418" r:id="rId347"/>
    <p:sldLayoutId id="2147484419" r:id="rId348"/>
    <p:sldLayoutId id="2147484420" r:id="rId349"/>
    <p:sldLayoutId id="2147484421" r:id="rId350"/>
    <p:sldLayoutId id="2147484422" r:id="rId351"/>
    <p:sldLayoutId id="2147484423" r:id="rId352"/>
    <p:sldLayoutId id="2147484424" r:id="rId353"/>
    <p:sldLayoutId id="2147484425" r:id="rId354"/>
    <p:sldLayoutId id="2147484426" r:id="rId355"/>
    <p:sldLayoutId id="2147484427" r:id="rId356"/>
    <p:sldLayoutId id="2147484428" r:id="rId357"/>
    <p:sldLayoutId id="2147484429" r:id="rId358"/>
    <p:sldLayoutId id="2147484430" r:id="rId359"/>
    <p:sldLayoutId id="2147484431" r:id="rId360"/>
    <p:sldLayoutId id="2147484432" r:id="rId361"/>
    <p:sldLayoutId id="2147484433" r:id="rId362"/>
    <p:sldLayoutId id="2147484434" r:id="rId363"/>
    <p:sldLayoutId id="2147484435" r:id="rId364"/>
    <p:sldLayoutId id="2147484436" r:id="rId365"/>
    <p:sldLayoutId id="2147484437" r:id="rId366"/>
    <p:sldLayoutId id="2147484438" r:id="rId367"/>
    <p:sldLayoutId id="2147484439" r:id="rId368"/>
    <p:sldLayoutId id="2147484440" r:id="rId369"/>
    <p:sldLayoutId id="2147484441" r:id="rId370"/>
    <p:sldLayoutId id="2147484442" r:id="rId371"/>
    <p:sldLayoutId id="2147484443" r:id="rId372"/>
    <p:sldLayoutId id="2147484444" r:id="rId373"/>
    <p:sldLayoutId id="2147484445" r:id="rId374"/>
    <p:sldLayoutId id="2147484446" r:id="rId375"/>
    <p:sldLayoutId id="2147484447" r:id="rId376"/>
    <p:sldLayoutId id="2147484448" r:id="rId377"/>
    <p:sldLayoutId id="2147484449" r:id="rId378"/>
    <p:sldLayoutId id="2147484450" r:id="rId379"/>
    <p:sldLayoutId id="2147484451" r:id="rId380"/>
    <p:sldLayoutId id="2147484452" r:id="rId381"/>
    <p:sldLayoutId id="2147484453" r:id="rId382"/>
    <p:sldLayoutId id="2147484454" r:id="rId383"/>
    <p:sldLayoutId id="2147484455" r:id="rId384"/>
    <p:sldLayoutId id="2147484456" r:id="rId385"/>
    <p:sldLayoutId id="2147484457" r:id="rId386"/>
    <p:sldLayoutId id="2147484458" r:id="rId387"/>
    <p:sldLayoutId id="2147484459" r:id="rId388"/>
    <p:sldLayoutId id="2147484460" r:id="rId389"/>
    <p:sldLayoutId id="2147484461" r:id="rId390"/>
    <p:sldLayoutId id="2147484462" r:id="rId391"/>
    <p:sldLayoutId id="2147484463" r:id="rId392"/>
    <p:sldLayoutId id="2147484464" r:id="rId393"/>
    <p:sldLayoutId id="2147484465" r:id="rId394"/>
    <p:sldLayoutId id="2147484466" r:id="rId395"/>
    <p:sldLayoutId id="2147484467" r:id="rId396"/>
    <p:sldLayoutId id="2147484468" r:id="rId397"/>
    <p:sldLayoutId id="2147484469" r:id="rId398"/>
    <p:sldLayoutId id="2147484470" r:id="rId399"/>
    <p:sldLayoutId id="2147484471" r:id="rId400"/>
    <p:sldLayoutId id="2147484472" r:id="rId401"/>
    <p:sldLayoutId id="2147484473" r:id="rId402"/>
    <p:sldLayoutId id="2147484474" r:id="rId403"/>
    <p:sldLayoutId id="2147484475" r:id="rId404"/>
    <p:sldLayoutId id="2147484476" r:id="rId405"/>
    <p:sldLayoutId id="2147484477" r:id="rId406"/>
    <p:sldLayoutId id="2147484478" r:id="rId407"/>
    <p:sldLayoutId id="2147484479" r:id="rId408"/>
    <p:sldLayoutId id="2147484480" r:id="rId409"/>
    <p:sldLayoutId id="2147484481" r:id="rId410"/>
    <p:sldLayoutId id="2147484482" r:id="rId411"/>
    <p:sldLayoutId id="2147484483" r:id="rId412"/>
    <p:sldLayoutId id="2147484484" r:id="rId413"/>
    <p:sldLayoutId id="2147484485" r:id="rId414"/>
    <p:sldLayoutId id="2147484486" r:id="rId415"/>
    <p:sldLayoutId id="2147484487" r:id="rId416"/>
    <p:sldLayoutId id="2147484488" r:id="rId417"/>
    <p:sldLayoutId id="2147484489" r:id="rId418"/>
    <p:sldLayoutId id="2147484490" r:id="rId419"/>
    <p:sldLayoutId id="2147484491" r:id="rId420"/>
    <p:sldLayoutId id="2147484492" r:id="rId421"/>
    <p:sldLayoutId id="2147484493" r:id="rId422"/>
    <p:sldLayoutId id="2147484494" r:id="rId423"/>
    <p:sldLayoutId id="2147484495" r:id="rId424"/>
    <p:sldLayoutId id="2147484496" r:id="rId425"/>
    <p:sldLayoutId id="2147484497" r:id="rId426"/>
    <p:sldLayoutId id="2147484498" r:id="rId427"/>
    <p:sldLayoutId id="2147484499" r:id="rId428"/>
    <p:sldLayoutId id="2147484500" r:id="rId429"/>
    <p:sldLayoutId id="2147484501" r:id="rId430"/>
    <p:sldLayoutId id="2147484502" r:id="rId431"/>
    <p:sldLayoutId id="2147484503" r:id="rId432"/>
    <p:sldLayoutId id="2147484504" r:id="rId433"/>
    <p:sldLayoutId id="2147484505" r:id="rId434"/>
    <p:sldLayoutId id="2147484506" r:id="rId435"/>
    <p:sldLayoutId id="2147484507" r:id="rId436"/>
    <p:sldLayoutId id="2147484508" r:id="rId437"/>
    <p:sldLayoutId id="2147484509" r:id="rId438"/>
    <p:sldLayoutId id="2147484510" r:id="rId439"/>
    <p:sldLayoutId id="2147484511" r:id="rId440"/>
    <p:sldLayoutId id="2147484512" r:id="rId441"/>
    <p:sldLayoutId id="2147484513" r:id="rId442"/>
    <p:sldLayoutId id="2147484514" r:id="rId443"/>
    <p:sldLayoutId id="2147484515" r:id="rId444"/>
    <p:sldLayoutId id="2147484516" r:id="rId445"/>
    <p:sldLayoutId id="2147484517" r:id="rId446"/>
    <p:sldLayoutId id="2147484518" r:id="rId447"/>
    <p:sldLayoutId id="2147484519" r:id="rId448"/>
    <p:sldLayoutId id="2147484520" r:id="rId449"/>
    <p:sldLayoutId id="2147484521" r:id="rId450"/>
    <p:sldLayoutId id="2147484522" r:id="rId451"/>
    <p:sldLayoutId id="2147484523" r:id="rId452"/>
    <p:sldLayoutId id="2147484524" r:id="rId453"/>
    <p:sldLayoutId id="2147484525" r:id="rId454"/>
    <p:sldLayoutId id="2147484526" r:id="rId455"/>
    <p:sldLayoutId id="2147484527" r:id="rId456"/>
    <p:sldLayoutId id="2147484528" r:id="rId457"/>
    <p:sldLayoutId id="2147484529" r:id="rId458"/>
    <p:sldLayoutId id="2147484530" r:id="rId459"/>
    <p:sldLayoutId id="2147484531" r:id="rId460"/>
    <p:sldLayoutId id="2147484532" r:id="rId461"/>
    <p:sldLayoutId id="2147484533" r:id="rId462"/>
    <p:sldLayoutId id="2147484534" r:id="rId463"/>
    <p:sldLayoutId id="2147484535" r:id="rId464"/>
    <p:sldLayoutId id="2147484536" r:id="rId465"/>
    <p:sldLayoutId id="2147484537" r:id="rId466"/>
    <p:sldLayoutId id="2147484538" r:id="rId467"/>
    <p:sldLayoutId id="2147484539" r:id="rId468"/>
    <p:sldLayoutId id="2147484540" r:id="rId469"/>
    <p:sldLayoutId id="2147484541" r:id="rId470"/>
    <p:sldLayoutId id="2147484542" r:id="rId471"/>
    <p:sldLayoutId id="2147484543" r:id="rId472"/>
    <p:sldLayoutId id="2147484544" r:id="rId473"/>
    <p:sldLayoutId id="2147484545" r:id="rId474"/>
    <p:sldLayoutId id="2147484546" r:id="rId475"/>
    <p:sldLayoutId id="2147484547" r:id="rId476"/>
    <p:sldLayoutId id="2147484548" r:id="rId477"/>
    <p:sldLayoutId id="2147484549" r:id="rId478"/>
    <p:sldLayoutId id="2147484550" r:id="rId479"/>
    <p:sldLayoutId id="2147484551" r:id="rId480"/>
    <p:sldLayoutId id="2147484552" r:id="rId481"/>
    <p:sldLayoutId id="2147484553" r:id="rId482"/>
    <p:sldLayoutId id="2147484554" r:id="rId483"/>
    <p:sldLayoutId id="2147484555" r:id="rId484"/>
    <p:sldLayoutId id="2147484556" r:id="rId485"/>
    <p:sldLayoutId id="2147484557" r:id="rId486"/>
    <p:sldLayoutId id="2147484558" r:id="rId487"/>
    <p:sldLayoutId id="2147484559" r:id="rId488"/>
    <p:sldLayoutId id="2147484560" r:id="rId489"/>
    <p:sldLayoutId id="2147484561" r:id="rId490"/>
    <p:sldLayoutId id="2147484562" r:id="rId491"/>
    <p:sldLayoutId id="2147484563" r:id="rId492"/>
    <p:sldLayoutId id="2147484564" r:id="rId493"/>
    <p:sldLayoutId id="2147484565" r:id="rId494"/>
    <p:sldLayoutId id="2147484566" r:id="rId495"/>
    <p:sldLayoutId id="2147484567" r:id="rId496"/>
    <p:sldLayoutId id="2147484568" r:id="rId497"/>
    <p:sldLayoutId id="2147484569" r:id="rId498"/>
    <p:sldLayoutId id="2147484570" r:id="rId499"/>
    <p:sldLayoutId id="2147484571" r:id="rId500"/>
    <p:sldLayoutId id="2147484572" r:id="rId501"/>
    <p:sldLayoutId id="2147484573" r:id="rId502"/>
    <p:sldLayoutId id="2147484574" r:id="rId503"/>
    <p:sldLayoutId id="2147484575" r:id="rId504"/>
    <p:sldLayoutId id="2147484576" r:id="rId505"/>
    <p:sldLayoutId id="2147484577" r:id="rId50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45" name="Google Shape;9445;p1193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457200" y="6327008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446" name="Google Shape;9446;p1193"/>
          <p:cNvSpPr txBox="1">
            <a:spLocks noGrp="1"/>
          </p:cNvSpPr>
          <p:nvPr>
            <p:ph type="body" idx="1"/>
          </p:nvPr>
        </p:nvSpPr>
        <p:spPr>
          <a:xfrm>
            <a:off x="457200" y="1143000"/>
            <a:ext cx="1133856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47" name="Google Shape;9447;p1193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48" name="Google Shape;9448;p1193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449" name="Google Shape;9449;p1193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50" name="Google Shape;9450;p1193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4584" r:id="rId6"/>
    <p:sldLayoutId id="2147484585" r:id="rId7"/>
    <p:sldLayoutId id="2147484586" r:id="rId8"/>
    <p:sldLayoutId id="2147484587" r:id="rId9"/>
    <p:sldLayoutId id="2147484588" r:id="rId10"/>
    <p:sldLayoutId id="2147484589" r:id="rId11"/>
    <p:sldLayoutId id="2147484590" r:id="rId12"/>
    <p:sldLayoutId id="2147484591" r:id="rId13"/>
    <p:sldLayoutId id="2147484592" r:id="rId14"/>
    <p:sldLayoutId id="2147484593" r:id="rId15"/>
    <p:sldLayoutId id="2147484594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7" name="Google Shape;9547;p1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548" name="Google Shape;9548;p1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49" name="Google Shape;9549;p1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50" name="Google Shape;9550;p1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96" r:id="rId1"/>
    <p:sldLayoutId id="2147484598" r:id="rId2"/>
    <p:sldLayoutId id="2147484599" r:id="rId3"/>
    <p:sldLayoutId id="2147484600" r:id="rId4"/>
    <p:sldLayoutId id="2147484601" r:id="rId5"/>
    <p:sldLayoutId id="2147484602" r:id="rId6"/>
    <p:sldLayoutId id="2147484603" r:id="rId7"/>
    <p:sldLayoutId id="2147484604" r:id="rId8"/>
    <p:sldLayoutId id="2147484605" r:id="rId9"/>
    <p:sldLayoutId id="2147484606" r:id="rId10"/>
    <p:sldLayoutId id="2147484607" r:id="rId11"/>
    <p:sldLayoutId id="2147484608" r:id="rId12"/>
    <p:sldLayoutId id="2147484609" r:id="rId13"/>
    <p:sldLayoutId id="2147484610" r:id="rId14"/>
    <p:sldLayoutId id="2147484611" r:id="rId15"/>
    <p:sldLayoutId id="2147484612" r:id="rId16"/>
    <p:sldLayoutId id="2147484613" r:id="rId17"/>
    <p:sldLayoutId id="2147484614" r:id="rId18"/>
    <p:sldLayoutId id="2147484615" r:id="rId19"/>
    <p:sldLayoutId id="2147484616" r:id="rId20"/>
    <p:sldLayoutId id="2147484617" r:id="rId21"/>
    <p:sldLayoutId id="2147484618" r:id="rId22"/>
    <p:sldLayoutId id="2147484619" r:id="rId23"/>
    <p:sldLayoutId id="2147484620" r:id="rId24"/>
    <p:sldLayoutId id="2147484621" r:id="rId25"/>
    <p:sldLayoutId id="2147484622" r:id="rId26"/>
    <p:sldLayoutId id="2147484623" r:id="rId27"/>
    <p:sldLayoutId id="2147484624" r:id="rId28"/>
    <p:sldLayoutId id="2147484625" r:id="rId29"/>
    <p:sldLayoutId id="2147484626" r:id="rId30"/>
    <p:sldLayoutId id="2147484627" r:id="rId31"/>
    <p:sldLayoutId id="2147484628" r:id="rId32"/>
    <p:sldLayoutId id="2147484629" r:id="rId33"/>
    <p:sldLayoutId id="2147484630" r:id="rId34"/>
    <p:sldLayoutId id="2147484631" r:id="rId35"/>
    <p:sldLayoutId id="2147484632" r:id="rId36"/>
    <p:sldLayoutId id="2147484633" r:id="rId37"/>
    <p:sldLayoutId id="2147484634" r:id="rId38"/>
    <p:sldLayoutId id="2147484635" r:id="rId39"/>
    <p:sldLayoutId id="2147484636" r:id="rId40"/>
    <p:sldLayoutId id="2147484637" r:id="rId41"/>
    <p:sldLayoutId id="2147484638" r:id="rId42"/>
    <p:sldLayoutId id="2147484639" r:id="rId43"/>
    <p:sldLayoutId id="2147484640" r:id="rId44"/>
    <p:sldLayoutId id="2147484641" r:id="rId45"/>
    <p:sldLayoutId id="2147484642" r:id="rId46"/>
    <p:sldLayoutId id="2147484643" r:id="rId47"/>
    <p:sldLayoutId id="2147484644" r:id="rId48"/>
    <p:sldLayoutId id="2147484645" r:id="rId49"/>
    <p:sldLayoutId id="2147484646" r:id="rId50"/>
    <p:sldLayoutId id="2147484647" r:id="rId51"/>
    <p:sldLayoutId id="2147484648" r:id="rId52"/>
    <p:sldLayoutId id="2147484649" r:id="rId53"/>
    <p:sldLayoutId id="2147484650" r:id="rId54"/>
    <p:sldLayoutId id="2147484651" r:id="rId55"/>
    <p:sldLayoutId id="2147484652" r:id="rId56"/>
    <p:sldLayoutId id="2147484653" r:id="rId57"/>
    <p:sldLayoutId id="2147484654" r:id="rId58"/>
    <p:sldLayoutId id="2147484655" r:id="rId59"/>
    <p:sldLayoutId id="2147484656" r:id="rId60"/>
    <p:sldLayoutId id="2147484657" r:id="rId61"/>
    <p:sldLayoutId id="2147484658" r:id="rId62"/>
    <p:sldLayoutId id="2147484659" r:id="rId63"/>
    <p:sldLayoutId id="2147484660" r:id="rId64"/>
    <p:sldLayoutId id="2147484661" r:id="rId65"/>
    <p:sldLayoutId id="2147484662" r:id="rId66"/>
    <p:sldLayoutId id="2147484663" r:id="rId67"/>
    <p:sldLayoutId id="2147484664" r:id="rId68"/>
    <p:sldLayoutId id="2147484665" r:id="rId69"/>
    <p:sldLayoutId id="2147484666" r:id="rId70"/>
    <p:sldLayoutId id="2147484667" r:id="rId71"/>
    <p:sldLayoutId id="2147484668" r:id="rId72"/>
    <p:sldLayoutId id="2147484669" r:id="rId73"/>
    <p:sldLayoutId id="2147484670" r:id="rId74"/>
    <p:sldLayoutId id="2147484671" r:id="rId75"/>
    <p:sldLayoutId id="2147484672" r:id="rId76"/>
    <p:sldLayoutId id="2147484673" r:id="rId77"/>
    <p:sldLayoutId id="2147484674" r:id="rId78"/>
    <p:sldLayoutId id="2147484675" r:id="rId79"/>
    <p:sldLayoutId id="2147484676" r:id="rId80"/>
    <p:sldLayoutId id="2147484677" r:id="rId81"/>
    <p:sldLayoutId id="2147484678" r:id="rId82"/>
    <p:sldLayoutId id="2147484679" r:id="rId83"/>
    <p:sldLayoutId id="2147484680" r:id="rId84"/>
    <p:sldLayoutId id="2147484681" r:id="rId85"/>
    <p:sldLayoutId id="2147484682" r:id="rId86"/>
    <p:sldLayoutId id="2147484683" r:id="rId87"/>
    <p:sldLayoutId id="2147484684" r:id="rId88"/>
    <p:sldLayoutId id="2147484685" r:id="rId89"/>
    <p:sldLayoutId id="2147484686" r:id="rId90"/>
    <p:sldLayoutId id="2147484687" r:id="rId91"/>
    <p:sldLayoutId id="2147484688" r:id="rId92"/>
    <p:sldLayoutId id="2147484689" r:id="rId93"/>
    <p:sldLayoutId id="2147484690" r:id="rId94"/>
    <p:sldLayoutId id="2147484691" r:id="rId95"/>
    <p:sldLayoutId id="2147484692" r:id="rId96"/>
    <p:sldLayoutId id="2147484693" r:id="rId97"/>
    <p:sldLayoutId id="2147484694" r:id="rId98"/>
    <p:sldLayoutId id="2147484695" r:id="rId99"/>
    <p:sldLayoutId id="2147484696" r:id="rId100"/>
    <p:sldLayoutId id="2147484697" r:id="rId101"/>
    <p:sldLayoutId id="2147484698" r:id="rId102"/>
    <p:sldLayoutId id="2147484699" r:id="rId103"/>
    <p:sldLayoutId id="2147484700" r:id="rId104"/>
    <p:sldLayoutId id="2147484701" r:id="rId105"/>
    <p:sldLayoutId id="2147484702" r:id="rId106"/>
    <p:sldLayoutId id="2147484703" r:id="rId107"/>
    <p:sldLayoutId id="2147484704" r:id="rId108"/>
    <p:sldLayoutId id="2147484705" r:id="rId109"/>
    <p:sldLayoutId id="2147484706" r:id="rId110"/>
    <p:sldLayoutId id="2147484707" r:id="rId111"/>
    <p:sldLayoutId id="2147484708" r:id="rId112"/>
    <p:sldLayoutId id="2147484709" r:id="rId113"/>
    <p:sldLayoutId id="2147484710" r:id="rId114"/>
    <p:sldLayoutId id="2147484711" r:id="rId115"/>
    <p:sldLayoutId id="2147484712" r:id="rId116"/>
    <p:sldLayoutId id="2147484713" r:id="rId117"/>
    <p:sldLayoutId id="2147484714" r:id="rId118"/>
    <p:sldLayoutId id="2147484715" r:id="rId119"/>
    <p:sldLayoutId id="2147484716" r:id="rId120"/>
    <p:sldLayoutId id="2147484717" r:id="rId121"/>
    <p:sldLayoutId id="2147484718" r:id="rId122"/>
    <p:sldLayoutId id="2147484719" r:id="rId123"/>
    <p:sldLayoutId id="2147484720" r:id="rId124"/>
    <p:sldLayoutId id="2147484721" r:id="rId125"/>
    <p:sldLayoutId id="2147484722" r:id="rId126"/>
    <p:sldLayoutId id="2147484723" r:id="rId127"/>
    <p:sldLayoutId id="2147484724" r:id="rId128"/>
    <p:sldLayoutId id="2147484725" r:id="rId129"/>
    <p:sldLayoutId id="2147484726" r:id="rId130"/>
    <p:sldLayoutId id="2147484727" r:id="rId131"/>
    <p:sldLayoutId id="2147484728" r:id="rId132"/>
    <p:sldLayoutId id="2147484729" r:id="rId133"/>
    <p:sldLayoutId id="2147484730" r:id="rId134"/>
    <p:sldLayoutId id="2147484731" r:id="rId135"/>
    <p:sldLayoutId id="2147484732" r:id="rId136"/>
    <p:sldLayoutId id="2147484733" r:id="rId137"/>
    <p:sldLayoutId id="2147484734" r:id="rId138"/>
    <p:sldLayoutId id="2147484735" r:id="rId139"/>
    <p:sldLayoutId id="2147484736" r:id="rId140"/>
    <p:sldLayoutId id="2147484737" r:id="rId141"/>
    <p:sldLayoutId id="2147484738" r:id="rId142"/>
    <p:sldLayoutId id="2147484739" r:id="rId143"/>
    <p:sldLayoutId id="2147484740" r:id="rId144"/>
    <p:sldLayoutId id="2147484741" r:id="rId145"/>
    <p:sldLayoutId id="2147484742" r:id="rId146"/>
    <p:sldLayoutId id="2147484743" r:id="rId147"/>
    <p:sldLayoutId id="2147484744" r:id="rId148"/>
    <p:sldLayoutId id="2147484745" r:id="rId149"/>
    <p:sldLayoutId id="2147484746" r:id="rId150"/>
    <p:sldLayoutId id="2147484747" r:id="rId151"/>
    <p:sldLayoutId id="2147484748" r:id="rId152"/>
    <p:sldLayoutId id="2147484749" r:id="rId153"/>
    <p:sldLayoutId id="2147484750" r:id="rId154"/>
    <p:sldLayoutId id="2147484751" r:id="rId155"/>
    <p:sldLayoutId id="2147484752" r:id="rId156"/>
    <p:sldLayoutId id="2147484753" r:id="rId157"/>
    <p:sldLayoutId id="2147484754" r:id="rId158"/>
    <p:sldLayoutId id="2147484755" r:id="rId159"/>
    <p:sldLayoutId id="2147484756" r:id="rId160"/>
    <p:sldLayoutId id="2147484757" r:id="rId161"/>
    <p:sldLayoutId id="2147484758" r:id="rId162"/>
    <p:sldLayoutId id="2147484759" r:id="rId163"/>
    <p:sldLayoutId id="2147484760" r:id="rId164"/>
    <p:sldLayoutId id="2147484761" r:id="rId165"/>
    <p:sldLayoutId id="2147484762" r:id="rId166"/>
    <p:sldLayoutId id="2147484763" r:id="rId167"/>
    <p:sldLayoutId id="2147484764" r:id="rId168"/>
    <p:sldLayoutId id="2147484765" r:id="rId169"/>
    <p:sldLayoutId id="2147484766" r:id="rId170"/>
    <p:sldLayoutId id="2147484767" r:id="rId171"/>
    <p:sldLayoutId id="2147484768" r:id="rId172"/>
    <p:sldLayoutId id="2147484769" r:id="rId173"/>
    <p:sldLayoutId id="2147484770" r:id="rId174"/>
    <p:sldLayoutId id="2147484771" r:id="rId175"/>
    <p:sldLayoutId id="2147484772" r:id="rId176"/>
    <p:sldLayoutId id="2147484773" r:id="rId177"/>
    <p:sldLayoutId id="2147484774" r:id="rId178"/>
    <p:sldLayoutId id="2147484775" r:id="rId179"/>
    <p:sldLayoutId id="2147484776" r:id="rId180"/>
    <p:sldLayoutId id="2147484777" r:id="rId181"/>
    <p:sldLayoutId id="2147484778" r:id="rId182"/>
    <p:sldLayoutId id="2147484779" r:id="rId183"/>
    <p:sldLayoutId id="2147484780" r:id="rId184"/>
    <p:sldLayoutId id="2147484781" r:id="rId185"/>
    <p:sldLayoutId id="2147484782" r:id="rId186"/>
    <p:sldLayoutId id="2147484783" r:id="rId187"/>
    <p:sldLayoutId id="2147484784" r:id="rId188"/>
    <p:sldLayoutId id="2147484785" r:id="rId189"/>
    <p:sldLayoutId id="2147484786" r:id="rId190"/>
    <p:sldLayoutId id="2147484787" r:id="rId191"/>
    <p:sldLayoutId id="2147484788" r:id="rId192"/>
    <p:sldLayoutId id="2147484789" r:id="rId193"/>
    <p:sldLayoutId id="2147484790" r:id="rId194"/>
    <p:sldLayoutId id="2147484791" r:id="rId195"/>
    <p:sldLayoutId id="2147484792" r:id="rId196"/>
    <p:sldLayoutId id="2147484793" r:id="rId197"/>
    <p:sldLayoutId id="2147484794" r:id="rId198"/>
    <p:sldLayoutId id="2147484795" r:id="rId199"/>
    <p:sldLayoutId id="2147484796" r:id="rId200"/>
    <p:sldLayoutId id="2147484797" r:id="rId201"/>
    <p:sldLayoutId id="2147484798" r:id="rId202"/>
    <p:sldLayoutId id="2147484799" r:id="rId203"/>
    <p:sldLayoutId id="2147484800" r:id="rId204"/>
    <p:sldLayoutId id="2147484801" r:id="rId205"/>
    <p:sldLayoutId id="2147484802" r:id="rId206"/>
    <p:sldLayoutId id="2147484803" r:id="rId207"/>
    <p:sldLayoutId id="2147484804" r:id="rId208"/>
    <p:sldLayoutId id="2147484805" r:id="rId209"/>
    <p:sldLayoutId id="2147484806" r:id="rId210"/>
    <p:sldLayoutId id="2147484807" r:id="rId211"/>
    <p:sldLayoutId id="2147484808" r:id="rId212"/>
    <p:sldLayoutId id="2147484809" r:id="rId213"/>
    <p:sldLayoutId id="2147484810" r:id="rId214"/>
    <p:sldLayoutId id="2147484811" r:id="rId215"/>
    <p:sldLayoutId id="2147484812" r:id="rId216"/>
    <p:sldLayoutId id="2147484813" r:id="rId217"/>
    <p:sldLayoutId id="2147484814" r:id="rId218"/>
    <p:sldLayoutId id="2147484815" r:id="rId219"/>
    <p:sldLayoutId id="2147484816" r:id="rId220"/>
    <p:sldLayoutId id="2147484817" r:id="rId221"/>
    <p:sldLayoutId id="2147484818" r:id="rId222"/>
    <p:sldLayoutId id="2147484819" r:id="rId223"/>
    <p:sldLayoutId id="2147484820" r:id="rId224"/>
    <p:sldLayoutId id="2147484821" r:id="rId225"/>
    <p:sldLayoutId id="2147484822" r:id="rId226"/>
    <p:sldLayoutId id="2147484823" r:id="rId227"/>
    <p:sldLayoutId id="2147484824" r:id="rId228"/>
    <p:sldLayoutId id="2147484825" r:id="rId229"/>
    <p:sldLayoutId id="2147484826" r:id="rId230"/>
    <p:sldLayoutId id="2147484827" r:id="rId231"/>
    <p:sldLayoutId id="2147484828" r:id="rId232"/>
    <p:sldLayoutId id="2147484829" r:id="rId23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1" name="Google Shape;11871;p6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2" name="Google Shape;11872;p6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3" name="Google Shape;11873;p6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831" r:id="rId1"/>
    <p:sldLayoutId id="2147484832" r:id="rId2"/>
    <p:sldLayoutId id="2147484833" r:id="rId3"/>
    <p:sldLayoutId id="2147484834" r:id="rId4"/>
    <p:sldLayoutId id="2147484835" r:id="rId5"/>
    <p:sldLayoutId id="2147484836" r:id="rId6"/>
    <p:sldLayoutId id="2147484837" r:id="rId7"/>
    <p:sldLayoutId id="2147484838" r:id="rId8"/>
    <p:sldLayoutId id="2147484839" r:id="rId9"/>
    <p:sldLayoutId id="2147484840" r:id="rId10"/>
    <p:sldLayoutId id="2147484841" r:id="rId11"/>
    <p:sldLayoutId id="214748484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927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4" r:id="rId1"/>
    <p:sldLayoutId id="2147484845" r:id="rId2"/>
    <p:sldLayoutId id="2147484846" r:id="rId3"/>
    <p:sldLayoutId id="2147484847" r:id="rId4"/>
    <p:sldLayoutId id="2147484848" r:id="rId5"/>
    <p:sldLayoutId id="2147484849" r:id="rId6"/>
    <p:sldLayoutId id="2147484850" r:id="rId7"/>
    <p:sldLayoutId id="2147484851" r:id="rId8"/>
    <p:sldLayoutId id="2147484852" r:id="rId9"/>
    <p:sldLayoutId id="2147484853" r:id="rId10"/>
    <p:sldLayoutId id="2147484854" r:id="rId11"/>
    <p:sldLayoutId id="2147484855" r:id="rId12"/>
    <p:sldLayoutId id="2147484856" r:id="rId13"/>
    <p:sldLayoutId id="2147484857" r:id="rId14"/>
    <p:sldLayoutId id="2147484858" r:id="rId15"/>
    <p:sldLayoutId id="2147484859" r:id="rId16"/>
    <p:sldLayoutId id="2147484860" r:id="rId17"/>
    <p:sldLayoutId id="2147484861" r:id="rId18"/>
    <p:sldLayoutId id="2147484862" r:id="rId19"/>
    <p:sldLayoutId id="2147484863" r:id="rId20"/>
    <p:sldLayoutId id="2147484864" r:id="rId21"/>
    <p:sldLayoutId id="2147484865" r:id="rId22"/>
    <p:sldLayoutId id="2147484866" r:id="rId23"/>
    <p:sldLayoutId id="2147484867" r:id="rId24"/>
    <p:sldLayoutId id="2147484868" r:id="rId25"/>
    <p:sldLayoutId id="2147484869" r:id="rId26"/>
    <p:sldLayoutId id="2147484870" r:id="rId27"/>
    <p:sldLayoutId id="2147484871" r:id="rId28"/>
    <p:sldLayoutId id="2147484872" r:id="rId29"/>
    <p:sldLayoutId id="2147484873" r:id="rId30"/>
    <p:sldLayoutId id="2147484874" r:id="rId31"/>
    <p:sldLayoutId id="2147484875" r:id="rId32"/>
    <p:sldLayoutId id="2147484876" r:id="rId33"/>
    <p:sldLayoutId id="2147484877" r:id="rId34"/>
    <p:sldLayoutId id="2147484878" r:id="rId35"/>
    <p:sldLayoutId id="2147484879" r:id="rId36"/>
    <p:sldLayoutId id="2147484880" r:id="rId37"/>
    <p:sldLayoutId id="2147484881" r:id="rId38"/>
    <p:sldLayoutId id="2147484882" r:id="rId39"/>
    <p:sldLayoutId id="2147484883" r:id="rId40"/>
    <p:sldLayoutId id="2147484884" r:id="rId41"/>
    <p:sldLayoutId id="2147484885" r:id="rId42"/>
    <p:sldLayoutId id="2147484886" r:id="rId43"/>
    <p:sldLayoutId id="2147484887" r:id="rId44"/>
    <p:sldLayoutId id="2147484888" r:id="rId45"/>
    <p:sldLayoutId id="2147484889" r:id="rId46"/>
    <p:sldLayoutId id="2147484890" r:id="rId47"/>
    <p:sldLayoutId id="2147484891" r:id="rId48"/>
    <p:sldLayoutId id="2147484892" r:id="rId49"/>
    <p:sldLayoutId id="2147484893" r:id="rId50"/>
    <p:sldLayoutId id="2147484894" r:id="rId51"/>
    <p:sldLayoutId id="2147484895" r:id="rId52"/>
    <p:sldLayoutId id="2147484896" r:id="rId53"/>
    <p:sldLayoutId id="2147484897" r:id="rId54"/>
    <p:sldLayoutId id="2147484898" r:id="rId55"/>
    <p:sldLayoutId id="2147484899" r:id="rId56"/>
    <p:sldLayoutId id="2147484900" r:id="rId57"/>
    <p:sldLayoutId id="2147484901" r:id="rId58"/>
    <p:sldLayoutId id="2147484902" r:id="rId59"/>
    <p:sldLayoutId id="2147484903" r:id="rId60"/>
    <p:sldLayoutId id="2147484904" r:id="rId61"/>
    <p:sldLayoutId id="2147484905" r:id="rId62"/>
    <p:sldLayoutId id="2147484906" r:id="rId63"/>
    <p:sldLayoutId id="2147484907" r:id="rId64"/>
    <p:sldLayoutId id="2147484908" r:id="rId65"/>
    <p:sldLayoutId id="2147484909" r:id="rId66"/>
    <p:sldLayoutId id="2147484910" r:id="rId67"/>
    <p:sldLayoutId id="2147484911" r:id="rId68"/>
    <p:sldLayoutId id="2147484912" r:id="rId69"/>
    <p:sldLayoutId id="2147484913" r:id="rId70"/>
    <p:sldLayoutId id="2147484914" r:id="rId71"/>
    <p:sldLayoutId id="2147484915" r:id="rId72"/>
    <p:sldLayoutId id="2147484916" r:id="rId73"/>
    <p:sldLayoutId id="2147484917" r:id="rId74"/>
    <p:sldLayoutId id="2147484918" r:id="rId75"/>
    <p:sldLayoutId id="2147484919" r:id="rId76"/>
    <p:sldLayoutId id="2147484920" r:id="rId77"/>
    <p:sldLayoutId id="2147484921" r:id="rId78"/>
    <p:sldLayoutId id="2147484922" r:id="rId79"/>
    <p:sldLayoutId id="2147484923" r:id="rId80"/>
    <p:sldLayoutId id="2147484924" r:id="rId81"/>
    <p:sldLayoutId id="2147484925" r:id="rId82"/>
    <p:sldLayoutId id="2147484926" r:id="rId83"/>
    <p:sldLayoutId id="2147484927" r:id="rId84"/>
    <p:sldLayoutId id="2147484928" r:id="rId85"/>
    <p:sldLayoutId id="2147484929" r:id="rId86"/>
    <p:sldLayoutId id="2147484930" r:id="rId87"/>
    <p:sldLayoutId id="2147484931" r:id="rId88"/>
    <p:sldLayoutId id="2147484932" r:id="rId89"/>
    <p:sldLayoutId id="2147484933" r:id="rId90"/>
    <p:sldLayoutId id="2147484934" r:id="rId91"/>
    <p:sldLayoutId id="2147484935" r:id="rId92"/>
    <p:sldLayoutId id="2147484936" r:id="rId93"/>
    <p:sldLayoutId id="2147484937" r:id="rId94"/>
    <p:sldLayoutId id="2147484938" r:id="rId95"/>
    <p:sldLayoutId id="2147484939" r:id="rId96"/>
    <p:sldLayoutId id="2147484940" r:id="rId97"/>
    <p:sldLayoutId id="2147484941" r:id="rId98"/>
    <p:sldLayoutId id="2147484942" r:id="rId99"/>
    <p:sldLayoutId id="2147484943" r:id="rId100"/>
    <p:sldLayoutId id="2147484944" r:id="rId101"/>
    <p:sldLayoutId id="2147484945" r:id="rId102"/>
    <p:sldLayoutId id="2147484946" r:id="rId103"/>
    <p:sldLayoutId id="2147484947" r:id="rId104"/>
    <p:sldLayoutId id="2147484948" r:id="rId105"/>
    <p:sldLayoutId id="2147484949" r:id="rId106"/>
    <p:sldLayoutId id="2147484950" r:id="rId107"/>
    <p:sldLayoutId id="2147484951" r:id="rId108"/>
    <p:sldLayoutId id="2147484952" r:id="rId109"/>
    <p:sldLayoutId id="2147484953" r:id="rId110"/>
    <p:sldLayoutId id="2147484954" r:id="rId111"/>
    <p:sldLayoutId id="2147484955" r:id="rId112"/>
    <p:sldLayoutId id="2147484956" r:id="rId113"/>
    <p:sldLayoutId id="2147484957" r:id="rId114"/>
    <p:sldLayoutId id="2147484958" r:id="rId115"/>
    <p:sldLayoutId id="2147484959" r:id="rId116"/>
    <p:sldLayoutId id="2147484963" r:id="rId117"/>
    <p:sldLayoutId id="2147484964" r:id="rId118"/>
    <p:sldLayoutId id="2147484965" r:id="rId119"/>
    <p:sldLayoutId id="2147484966" r:id="rId120"/>
    <p:sldLayoutId id="2147484967" r:id="rId121"/>
    <p:sldLayoutId id="2147484968" r:id="rId122"/>
    <p:sldLayoutId id="2147484969" r:id="rId123"/>
    <p:sldLayoutId id="2147484970" r:id="rId124"/>
    <p:sldLayoutId id="2147484971" r:id="rId125"/>
    <p:sldLayoutId id="2147484972" r:id="rId126"/>
    <p:sldLayoutId id="2147484973" r:id="rId127"/>
    <p:sldLayoutId id="2147484974" r:id="rId128"/>
    <p:sldLayoutId id="2147484975" r:id="rId129"/>
    <p:sldLayoutId id="2147484976" r:id="rId130"/>
    <p:sldLayoutId id="2147484977" r:id="rId131"/>
    <p:sldLayoutId id="2147484978" r:id="rId132"/>
    <p:sldLayoutId id="2147484979" r:id="rId133"/>
    <p:sldLayoutId id="2147484980" r:id="rId134"/>
    <p:sldLayoutId id="2147484981" r:id="rId135"/>
    <p:sldLayoutId id="2147484982" r:id="rId136"/>
    <p:sldLayoutId id="2147484983" r:id="rId137"/>
    <p:sldLayoutId id="2147484984" r:id="rId138"/>
    <p:sldLayoutId id="2147484985" r:id="rId139"/>
    <p:sldLayoutId id="2147484986" r:id="rId140"/>
    <p:sldLayoutId id="2147484987" r:id="rId141"/>
    <p:sldLayoutId id="2147484988" r:id="rId142"/>
    <p:sldLayoutId id="2147484989" r:id="rId143"/>
    <p:sldLayoutId id="2147484990" r:id="rId144"/>
    <p:sldLayoutId id="2147484991" r:id="rId145"/>
    <p:sldLayoutId id="2147484992" r:id="rId146"/>
    <p:sldLayoutId id="2147484993" r:id="rId147"/>
    <p:sldLayoutId id="2147484994" r:id="rId148"/>
    <p:sldLayoutId id="2147484995" r:id="rId149"/>
    <p:sldLayoutId id="2147484996" r:id="rId150"/>
    <p:sldLayoutId id="2147484997" r:id="rId151"/>
    <p:sldLayoutId id="2147484998" r:id="rId152"/>
    <p:sldLayoutId id="2147484999" r:id="rId153"/>
    <p:sldLayoutId id="2147485000" r:id="rId154"/>
    <p:sldLayoutId id="2147485001" r:id="rId155"/>
    <p:sldLayoutId id="2147485002" r:id="rId156"/>
    <p:sldLayoutId id="2147485003" r:id="rId157"/>
    <p:sldLayoutId id="2147485004" r:id="rId158"/>
    <p:sldLayoutId id="2147485005" r:id="rId159"/>
    <p:sldLayoutId id="2147485006" r:id="rId160"/>
    <p:sldLayoutId id="2147485007" r:id="rId161"/>
    <p:sldLayoutId id="2147485008" r:id="rId162"/>
    <p:sldLayoutId id="2147485009" r:id="rId163"/>
    <p:sldLayoutId id="2147485010" r:id="rId164"/>
    <p:sldLayoutId id="2147485011" r:id="rId165"/>
    <p:sldLayoutId id="2147485012" r:id="rId166"/>
    <p:sldLayoutId id="2147485013" r:id="rId167"/>
    <p:sldLayoutId id="2147485014" r:id="rId168"/>
    <p:sldLayoutId id="2147485015" r:id="rId169"/>
    <p:sldLayoutId id="2147485016" r:id="rId170"/>
    <p:sldLayoutId id="2147485017" r:id="rId171"/>
    <p:sldLayoutId id="2147485018" r:id="rId172"/>
    <p:sldLayoutId id="2147485019" r:id="rId173"/>
    <p:sldLayoutId id="2147485020" r:id="rId174"/>
    <p:sldLayoutId id="2147485021" r:id="rId175"/>
    <p:sldLayoutId id="2147485022" r:id="rId176"/>
    <p:sldLayoutId id="2147485023" r:id="rId177"/>
    <p:sldLayoutId id="2147485024" r:id="rId178"/>
    <p:sldLayoutId id="2147485025" r:id="rId179"/>
    <p:sldLayoutId id="2147485026" r:id="rId180"/>
    <p:sldLayoutId id="2147485027" r:id="rId181"/>
    <p:sldLayoutId id="2147485028" r:id="rId182"/>
    <p:sldLayoutId id="2147485029" r:id="rId183"/>
    <p:sldLayoutId id="2147485030" r:id="rId184"/>
    <p:sldLayoutId id="2147485031" r:id="rId185"/>
    <p:sldLayoutId id="2147485032" r:id="rId186"/>
    <p:sldLayoutId id="2147485033" r:id="rId187"/>
    <p:sldLayoutId id="2147485034" r:id="rId188"/>
    <p:sldLayoutId id="2147485035" r:id="rId189"/>
    <p:sldLayoutId id="2147485036" r:id="rId190"/>
    <p:sldLayoutId id="2147485037" r:id="rId191"/>
    <p:sldLayoutId id="2147485038" r:id="rId192"/>
    <p:sldLayoutId id="2147485039" r:id="rId193"/>
    <p:sldLayoutId id="2147485040" r:id="rId194"/>
    <p:sldLayoutId id="2147485041" r:id="rId195"/>
    <p:sldLayoutId id="2147485042" r:id="rId196"/>
    <p:sldLayoutId id="2147485043" r:id="rId197"/>
    <p:sldLayoutId id="2147485044" r:id="rId198"/>
    <p:sldLayoutId id="2147485045" r:id="rId199"/>
    <p:sldLayoutId id="2147485046" r:id="rId200"/>
    <p:sldLayoutId id="2147485047" r:id="rId201"/>
    <p:sldLayoutId id="2147485048" r:id="rId202"/>
    <p:sldLayoutId id="2147485049" r:id="rId203"/>
    <p:sldLayoutId id="2147485050" r:id="rId204"/>
    <p:sldLayoutId id="2147485051" r:id="rId205"/>
    <p:sldLayoutId id="2147485052" r:id="rId206"/>
    <p:sldLayoutId id="2147485053" r:id="rId207"/>
    <p:sldLayoutId id="2147485054" r:id="rId208"/>
    <p:sldLayoutId id="2147485055" r:id="rId209"/>
    <p:sldLayoutId id="2147485056" r:id="rId210"/>
    <p:sldLayoutId id="2147485057" r:id="rId211"/>
    <p:sldLayoutId id="2147485058" r:id="rId212"/>
    <p:sldLayoutId id="2147485059" r:id="rId213"/>
    <p:sldLayoutId id="2147485060" r:id="rId214"/>
    <p:sldLayoutId id="2147485061" r:id="rId215"/>
    <p:sldLayoutId id="2147485062" r:id="rId216"/>
    <p:sldLayoutId id="2147485063" r:id="rId217"/>
    <p:sldLayoutId id="2147485064" r:id="rId218"/>
    <p:sldLayoutId id="2147485065" r:id="rId219"/>
    <p:sldLayoutId id="2147485066" r:id="rId220"/>
    <p:sldLayoutId id="2147485067" r:id="rId221"/>
    <p:sldLayoutId id="2147485068" r:id="rId222"/>
    <p:sldLayoutId id="2147485069" r:id="rId223"/>
    <p:sldLayoutId id="2147485070" r:id="rId224"/>
    <p:sldLayoutId id="2147485071" r:id="rId225"/>
    <p:sldLayoutId id="2147485072" r:id="rId226"/>
    <p:sldLayoutId id="2147485073" r:id="rId227"/>
    <p:sldLayoutId id="2147485074" r:id="rId22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2.xml"/><Relationship Id="rId4" Type="http://schemas.openxmlformats.org/officeDocument/2006/relationships/image" Target="../media/image10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4.xml"/><Relationship Id="rId4" Type="http://schemas.openxmlformats.org/officeDocument/2006/relationships/image" Target="../media/image10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hfs.illinois.gov/medicalproviders/notices/notice.prn211221b.html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3.png"/><Relationship Id="rId4" Type="http://schemas.openxmlformats.org/officeDocument/2006/relationships/image" Target="../media/image12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29.xml"/><Relationship Id="rId4" Type="http://schemas.openxmlformats.org/officeDocument/2006/relationships/image" Target="../media/image1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2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2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3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3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30.xml"/><Relationship Id="rId4" Type="http://schemas.openxmlformats.org/officeDocument/2006/relationships/image" Target="../media/image132.jp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hVPxFZDEFZI" TargetMode="External"/><Relationship Id="rId3" Type="http://schemas.openxmlformats.org/officeDocument/2006/relationships/image" Target="../media/image133.png"/><Relationship Id="rId7" Type="http://schemas.openxmlformats.org/officeDocument/2006/relationships/image" Target="../media/image13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31.xm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34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29.xml"/><Relationship Id="rId4" Type="http://schemas.openxmlformats.org/officeDocument/2006/relationships/image" Target="../media/image139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30.xml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3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3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3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92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93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2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31.xml"/><Relationship Id="rId4" Type="http://schemas.openxmlformats.org/officeDocument/2006/relationships/image" Target="../media/image146.jp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31.xml"/><Relationship Id="rId4" Type="http://schemas.openxmlformats.org/officeDocument/2006/relationships/image" Target="../media/image14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2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9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3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93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3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3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30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png"/><Relationship Id="rId3" Type="http://schemas.openxmlformats.org/officeDocument/2006/relationships/hyperlink" Target="mailto:srana@bsd.uchicago.edu" TargetMode="External"/><Relationship Id="rId7" Type="http://schemas.openxmlformats.org/officeDocument/2006/relationships/image" Target="../media/image15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930.xml"/><Relationship Id="rId6" Type="http://schemas.openxmlformats.org/officeDocument/2006/relationships/hyperlink" Target="mailto:cduncan@bsd.uchicago.edu" TargetMode="External"/><Relationship Id="rId5" Type="http://schemas.openxmlformats.org/officeDocument/2006/relationships/hyperlink" Target="mailto:Sanela.Andelija@uchicagomedicine.org" TargetMode="External"/><Relationship Id="rId4" Type="http://schemas.openxmlformats.org/officeDocument/2006/relationships/hyperlink" Target="mailto:aseverett@bsd.uchicago.edu" TargetMode="External"/><Relationship Id="rId9" Type="http://schemas.openxmlformats.org/officeDocument/2006/relationships/image" Target="../media/image153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jpg"/><Relationship Id="rId13" Type="http://schemas.openxmlformats.org/officeDocument/2006/relationships/image" Target="../media/image164.png"/><Relationship Id="rId3" Type="http://schemas.openxmlformats.org/officeDocument/2006/relationships/image" Target="../media/image154.jpg"/><Relationship Id="rId7" Type="http://schemas.openxmlformats.org/officeDocument/2006/relationships/image" Target="../media/image158.png"/><Relationship Id="rId12" Type="http://schemas.openxmlformats.org/officeDocument/2006/relationships/image" Target="../media/image163.jpg"/><Relationship Id="rId17" Type="http://schemas.openxmlformats.org/officeDocument/2006/relationships/image" Target="../media/image168.jpg"/><Relationship Id="rId2" Type="http://schemas.openxmlformats.org/officeDocument/2006/relationships/notesSlide" Target="../notesSlides/notesSlide54.xml"/><Relationship Id="rId16" Type="http://schemas.openxmlformats.org/officeDocument/2006/relationships/image" Target="../media/image167.jpg"/><Relationship Id="rId1" Type="http://schemas.openxmlformats.org/officeDocument/2006/relationships/slideLayout" Target="../slideLayouts/slideLayout931.xml"/><Relationship Id="rId6" Type="http://schemas.openxmlformats.org/officeDocument/2006/relationships/image" Target="../media/image157.jpg"/><Relationship Id="rId11" Type="http://schemas.openxmlformats.org/officeDocument/2006/relationships/image" Target="../media/image162.jpg"/><Relationship Id="rId5" Type="http://schemas.openxmlformats.org/officeDocument/2006/relationships/image" Target="../media/image156.jpg"/><Relationship Id="rId15" Type="http://schemas.openxmlformats.org/officeDocument/2006/relationships/image" Target="../media/image166.png"/><Relationship Id="rId10" Type="http://schemas.openxmlformats.org/officeDocument/2006/relationships/image" Target="../media/image161.png"/><Relationship Id="rId4" Type="http://schemas.openxmlformats.org/officeDocument/2006/relationships/image" Target="../media/image155.png"/><Relationship Id="rId9" Type="http://schemas.openxmlformats.org/officeDocument/2006/relationships/image" Target="../media/image160.png"/><Relationship Id="rId14" Type="http://schemas.openxmlformats.org/officeDocument/2006/relationships/image" Target="../media/image165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jp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ilpqc.org/2023-annual-conference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93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94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177.xml"/><Relationship Id="rId6" Type="http://schemas.openxmlformats.org/officeDocument/2006/relationships/image" Target="../media/image175.png"/><Relationship Id="rId5" Type="http://schemas.openxmlformats.org/officeDocument/2006/relationships/image" Target="../media/image174.png"/><Relationship Id="rId4" Type="http://schemas.openxmlformats.org/officeDocument/2006/relationships/image" Target="../media/image173.jp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18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17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17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17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17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1" name="Google Shape;11931;p1"/>
          <p:cNvSpPr txBox="1"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</a:pPr>
            <a:r>
              <a:rPr lang="en-US"/>
              <a:t>BE Teams Call – Sustainable Equity Strategies to Promote Postpartum Safety</a:t>
            </a:r>
            <a:endParaRPr/>
          </a:p>
        </p:txBody>
      </p:sp>
      <p:sp>
        <p:nvSpPr>
          <p:cNvPr id="11932" name="Google Shape;11932;p1"/>
          <p:cNvSpPr txBox="1"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Monday, December 11th, 2023</a:t>
            </a:r>
            <a:endParaRPr/>
          </a:p>
        </p:txBody>
      </p:sp>
      <p:pic>
        <p:nvPicPr>
          <p:cNvPr id="11933" name="Google Shape;11933;p1" descr="Woman kissing newborn baby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9082" y="1267275"/>
            <a:ext cx="5589946" cy="3837481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1" name="Google Shape;12171;p1143"/>
          <p:cNvSpPr txBox="1">
            <a:spLocks noGrp="1"/>
          </p:cNvSpPr>
          <p:nvPr>
            <p:ph type="title"/>
          </p:nvPr>
        </p:nvSpPr>
        <p:spPr>
          <a:xfrm>
            <a:off x="244475" y="53731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b="0"/>
              <a:t>ILPQC Hospital Team Data Submission </a:t>
            </a:r>
            <a:endParaRPr/>
          </a:p>
        </p:txBody>
      </p:sp>
      <p:sp>
        <p:nvSpPr>
          <p:cNvPr id="12172" name="Google Shape;12172;p1143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73" name="Google Shape;12173;p1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graphicFrame>
        <p:nvGraphicFramePr>
          <p:cNvPr id="12174" name="Google Shape;12174;p1143"/>
          <p:cNvGraphicFramePr/>
          <p:nvPr/>
        </p:nvGraphicFramePr>
        <p:xfrm>
          <a:off x="221358" y="1204924"/>
          <a:ext cx="11754900" cy="5486480"/>
        </p:xfrm>
        <a:graphic>
          <a:graphicData uri="http://schemas.openxmlformats.org/drawingml/2006/table">
            <a:tbl>
              <a:tblPr firstRow="1" bandRow="1">
                <a:noFill/>
                <a:tableStyleId>{54556ADF-2B93-452C-9A2B-54F70BC1554F}</a:tableStyleId>
              </a:tblPr>
              <a:tblGrid>
                <a:gridCol w="5774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2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7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tructure Measures​</a:t>
                      </a:r>
                      <a:endParaRPr sz="1400" b="1" u="none" strike="noStrike" cap="none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Baseline </a:t>
                      </a:r>
                      <a:endParaRPr sz="1400" b="1" u="none" strike="noStrike" cap="none">
                        <a:solidFill>
                          <a:srgbClr val="FFFFFF"/>
                        </a:solidFill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/>
                        <a:t>(% In Place)​</a:t>
                      </a:r>
                      <a:endParaRPr sz="1400" b="1" u="none" strike="noStrike" cap="none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October 2023</a:t>
                      </a:r>
                      <a:endParaRPr sz="14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(% In Place)​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DOH Screening (L&amp;D)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17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7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Optimize Accurate Self-Reported ​</a:t>
                      </a:r>
                      <a:endParaRPr sz="14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Race and Ethnicity Data Collection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7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1%​</a:t>
                      </a:r>
                      <a:endParaRPr sz="14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/>
                        <a:t>Review Maternal QI Data Stratified by Race, Ethnicity &amp; Insurance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/>
                        <a:t>6%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/>
                        <a:t>84%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Engage Patients and Community ​</a:t>
                      </a:r>
                      <a:endParaRPr sz="14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in QI Work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4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53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haring Respectful Care Strategies with Healthcare Team and Patients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81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PREM Implementation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78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Postpartum Safety Patient Education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54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u="none" strike="noStrike" cap="none"/>
                        <a:t>88%​</a:t>
                      </a:r>
                      <a:endParaRPr sz="1400" b="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0" name="Google Shape;12180;p1144" descr="A graph with a line and a lin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5861" y="2234084"/>
            <a:ext cx="6096000" cy="40851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181" name="Google Shape;12181;p1144" descr="A graph with blue lines and orange dots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32316" y="2355111"/>
            <a:ext cx="5740671" cy="3973033"/>
          </a:xfrm>
          <a:prstGeom prst="rect">
            <a:avLst/>
          </a:prstGeom>
          <a:noFill/>
          <a:ln>
            <a:noFill/>
          </a:ln>
        </p:spPr>
      </p:pic>
      <p:sp>
        <p:nvSpPr>
          <p:cNvPr id="12182" name="Google Shape;12182;p1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12183" name="Google Shape;12183;p1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184" name="Google Shape;12184;p1144"/>
          <p:cNvSpPr txBox="1"/>
          <p:nvPr/>
        </p:nvSpPr>
        <p:spPr>
          <a:xfrm>
            <a:off x="183151" y="215022"/>
            <a:ext cx="7178437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ocial Determinants of Health Screening and Linkage to Community Resources</a:t>
            </a:r>
            <a:endParaRPr sz="3200" b="1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5" name="Google Shape;12185;p1144"/>
          <p:cNvSpPr txBox="1"/>
          <p:nvPr/>
        </p:nvSpPr>
        <p:spPr>
          <a:xfrm>
            <a:off x="1106129" y="1670186"/>
            <a:ext cx="4343400" cy="461665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DoH Screening (L&amp;D)</a:t>
            </a:r>
            <a:endParaRPr sz="24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6" name="Google Shape;12186;p1144"/>
          <p:cNvSpPr txBox="1"/>
          <p:nvPr/>
        </p:nvSpPr>
        <p:spPr>
          <a:xfrm>
            <a:off x="6934200" y="1492074"/>
            <a:ext cx="4343400" cy="830997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Documentation of Linkage to Community Resources (L&amp;D)</a:t>
            </a:r>
            <a:endParaRPr sz="1400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7" name="Google Shape;12187;p1144"/>
          <p:cNvSpPr txBox="1"/>
          <p:nvPr/>
        </p:nvSpPr>
        <p:spPr>
          <a:xfrm>
            <a:off x="6850248" y="4114543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4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8" name="Google Shape;12188;p1144"/>
          <p:cNvSpPr txBox="1"/>
          <p:nvPr/>
        </p:nvSpPr>
        <p:spPr>
          <a:xfrm>
            <a:off x="11334929" y="2775855"/>
            <a:ext cx="771363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4</a:t>
            </a: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9" name="Google Shape;12189;p1144"/>
          <p:cNvSpPr txBox="1"/>
          <p:nvPr/>
        </p:nvSpPr>
        <p:spPr>
          <a:xfrm>
            <a:off x="682416" y="5138463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90" name="Google Shape;12190;p1144"/>
          <p:cNvSpPr txBox="1"/>
          <p:nvPr/>
        </p:nvSpPr>
        <p:spPr>
          <a:xfrm>
            <a:off x="5453493" y="2396040"/>
            <a:ext cx="682772" cy="38114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3</a:t>
            </a: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6" name="Google Shape;12196;p11"/>
          <p:cNvSpPr txBox="1">
            <a:spLocks noGrp="1"/>
          </p:cNvSpPr>
          <p:nvPr>
            <p:ph type="sldNum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rPr>
              <a:t>12</a:t>
            </a:fld>
            <a:endParaRPr sz="1200" b="0" i="0" u="none" strike="noStrike" cap="none">
              <a:solidFill>
                <a:srgbClr val="89898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97" name="Google Shape;12197;p11"/>
          <p:cNvSpPr txBox="1">
            <a:spLocks noGrp="1"/>
          </p:cNvSpPr>
          <p:nvPr>
            <p:ph type="title"/>
          </p:nvPr>
        </p:nvSpPr>
        <p:spPr>
          <a:xfrm>
            <a:off x="199225" y="155534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ovider, Nurse, and Staff Education </a:t>
            </a:r>
            <a:endParaRPr/>
          </a:p>
        </p:txBody>
      </p:sp>
      <p:sp>
        <p:nvSpPr>
          <p:cNvPr id="12198" name="Google Shape;12198;p11"/>
          <p:cNvSpPr/>
          <p:nvPr/>
        </p:nvSpPr>
        <p:spPr>
          <a:xfrm>
            <a:off x="457200" y="6093011"/>
            <a:ext cx="11277600" cy="7383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99" name="Google Shape;12199;p11"/>
          <p:cNvSpPr txBox="1"/>
          <p:nvPr/>
        </p:nvSpPr>
        <p:spPr>
          <a:xfrm>
            <a:off x="9288894" y="2641480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8%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0" name="Google Shape;12200;p11"/>
          <p:cNvSpPr txBox="1"/>
          <p:nvPr/>
        </p:nvSpPr>
        <p:spPr>
          <a:xfrm>
            <a:off x="9290538" y="2947125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2%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1" name="Google Shape;12201;p11"/>
          <p:cNvSpPr txBox="1"/>
          <p:nvPr/>
        </p:nvSpPr>
        <p:spPr>
          <a:xfrm>
            <a:off x="9288893" y="3244685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9%</a:t>
            </a: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202" name="Google Shape;12202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9209" y="1481748"/>
            <a:ext cx="8352465" cy="51645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8" name="Google Shape;12208;p13"/>
          <p:cNvSpPr txBox="1">
            <a:spLocks noGrp="1"/>
          </p:cNvSpPr>
          <p:nvPr>
            <p:ph type="title"/>
          </p:nvPr>
        </p:nvSpPr>
        <p:spPr>
          <a:xfrm>
            <a:off x="176139" y="322259"/>
            <a:ext cx="6219825" cy="1344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en-US" sz="4000"/>
              <a:t>PREM Survey Completion</a:t>
            </a:r>
            <a:endParaRPr/>
          </a:p>
        </p:txBody>
      </p:sp>
      <p:sp>
        <p:nvSpPr>
          <p:cNvPr id="12209" name="Google Shape;12209;p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12210" name="Google Shape;12210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211" name="Google Shape;12211;p13"/>
          <p:cNvSpPr/>
          <p:nvPr/>
        </p:nvSpPr>
        <p:spPr>
          <a:xfrm>
            <a:off x="227163" y="2281538"/>
            <a:ext cx="4873277" cy="266866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6,549 PREM surveys submitted among 71 hospitals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2% Black, 19% Hispanic, 5% Asian, 48% Whit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212" name="Google Shape;12212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256362" y="1981603"/>
            <a:ext cx="6840747" cy="378619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8" name="Google Shape;12218;p1145"/>
          <p:cNvSpPr txBox="1">
            <a:spLocks noGrp="1"/>
          </p:cNvSpPr>
          <p:nvPr>
            <p:ph type="title"/>
          </p:nvPr>
        </p:nvSpPr>
        <p:spPr>
          <a:xfrm>
            <a:off x="435428" y="130569"/>
            <a:ext cx="698695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Advancing Patient &amp; Community Engagement</a:t>
            </a:r>
            <a:endParaRPr/>
          </a:p>
        </p:txBody>
      </p:sp>
      <p:sp>
        <p:nvSpPr>
          <p:cNvPr id="12219" name="Google Shape;12219;p1145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4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20" name="Google Shape;12220;p1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12221" name="Google Shape;12221;p1145" descr="A picture containing 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27446" y="1624341"/>
            <a:ext cx="3252616" cy="504145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22" name="Google Shape;12222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600951" y="5883707"/>
            <a:ext cx="247701" cy="238408"/>
          </a:xfrm>
          <a:prstGeom prst="rect">
            <a:avLst/>
          </a:prstGeom>
          <a:noFill/>
          <a:ln>
            <a:noFill/>
          </a:ln>
        </p:spPr>
      </p:pic>
      <p:sp>
        <p:nvSpPr>
          <p:cNvPr id="12223" name="Google Shape;12223;p1145"/>
          <p:cNvSpPr txBox="1">
            <a:spLocks noGrp="1"/>
          </p:cNvSpPr>
          <p:nvPr>
            <p:ph type="body" idx="1"/>
          </p:nvPr>
        </p:nvSpPr>
        <p:spPr>
          <a:xfrm>
            <a:off x="434798" y="1385580"/>
            <a:ext cx="7486056" cy="4379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/>
              <a:t>Nearly</a:t>
            </a:r>
            <a:r>
              <a:rPr lang="en-US" b="1"/>
              <a:t> 13x</a:t>
            </a:r>
            <a:r>
              <a:rPr lang="en-US"/>
              <a:t> increase in teams who have patient/community engagement strategy in place from start of BE initiative (4% --&gt; 50%)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 b="1"/>
              <a:t>10</a:t>
            </a:r>
            <a:r>
              <a:rPr lang="en-US"/>
              <a:t> Regional Community Engagement Meetings (RCEMs) in 2022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 b="1"/>
              <a:t>20 </a:t>
            </a:r>
            <a:r>
              <a:rPr lang="en-US"/>
              <a:t>hospitals have held Respectful Care Breakfasts in 2023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 b="1"/>
              <a:t>8</a:t>
            </a:r>
            <a:r>
              <a:rPr lang="en-US"/>
              <a:t> hospitals have engaged a Patient Partner on their QI team in 2023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/>
              <a:t>ILPQC is offering a FREE Momma's Voices Patient &amp; Family Partner Training to the first</a:t>
            </a:r>
            <a:r>
              <a:rPr lang="en-US" b="1"/>
              <a:t> 20</a:t>
            </a:r>
            <a:r>
              <a:rPr lang="en-US"/>
              <a:t> Patient Partners identified!</a:t>
            </a:r>
            <a:endParaRPr/>
          </a:p>
        </p:txBody>
      </p:sp>
      <p:pic>
        <p:nvPicPr>
          <p:cNvPr id="12224" name="Google Shape;12224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83831" y="2198627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25" name="Google Shape;12225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436228" y="1713785"/>
            <a:ext cx="247701" cy="247701"/>
          </a:xfrm>
          <a:prstGeom prst="rect">
            <a:avLst/>
          </a:prstGeom>
          <a:noFill/>
          <a:ln>
            <a:noFill/>
          </a:ln>
        </p:spPr>
      </p:pic>
      <p:sp>
        <p:nvSpPr>
          <p:cNvPr id="12226" name="Google Shape;12226;p1145"/>
          <p:cNvSpPr/>
          <p:nvPr/>
        </p:nvSpPr>
        <p:spPr>
          <a:xfrm>
            <a:off x="9356123" y="4464907"/>
            <a:ext cx="2677296" cy="116898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cap="flat" cmpd="sng">
            <a:solidFill>
              <a:srgbClr val="14356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0 Respectful Care Breakfasts</a:t>
            </a: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ay – Nov 2023</a:t>
            </a:r>
            <a:endParaRPr/>
          </a:p>
        </p:txBody>
      </p:sp>
      <p:pic>
        <p:nvPicPr>
          <p:cNvPr id="12227" name="Google Shape;12227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80115" y="2441757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28" name="Google Shape;12228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910370" y="497501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29" name="Google Shape;12229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84031" y="2270038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0" name="Google Shape;12230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33470" y="1718970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1" name="Google Shape;12231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771163" y="171525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2" name="Google Shape;12232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12800" y="230911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3" name="Google Shape;12233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024338" y="256311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4" name="Google Shape;12234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15646" y="2436115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5" name="Google Shape;12235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389338" y="281711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6" name="Google Shape;12236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024337" y="3715883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7" name="Google Shape;12237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12800" y="2182114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8" name="Google Shape;12238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57030" y="2563115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39" name="Google Shape;12239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317415" y="2201652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40" name="Google Shape;12240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942645" y="2397038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41" name="Google Shape;12241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698413" y="2318884"/>
            <a:ext cx="247701" cy="247701"/>
          </a:xfrm>
          <a:prstGeom prst="rect">
            <a:avLst/>
          </a:prstGeom>
          <a:noFill/>
          <a:ln>
            <a:noFill/>
          </a:ln>
        </p:spPr>
      </p:pic>
      <p:sp>
        <p:nvSpPr>
          <p:cNvPr id="12242" name="Google Shape;12242;p1145"/>
          <p:cNvSpPr/>
          <p:nvPr/>
        </p:nvSpPr>
        <p:spPr>
          <a:xfrm>
            <a:off x="9386159" y="1708042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243" name="Google Shape;12243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151338" y="1928113"/>
            <a:ext cx="247701" cy="2477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244" name="Google Shape;12244;p1145" descr="Badge New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355" y="3472228"/>
            <a:ext cx="404438" cy="395619"/>
          </a:xfrm>
          <a:prstGeom prst="rect">
            <a:avLst/>
          </a:prstGeom>
          <a:noFill/>
          <a:ln>
            <a:noFill/>
          </a:ln>
        </p:spPr>
      </p:pic>
      <p:sp>
        <p:nvSpPr>
          <p:cNvPr id="12245" name="Google Shape;12245;p1145"/>
          <p:cNvSpPr/>
          <p:nvPr/>
        </p:nvSpPr>
        <p:spPr>
          <a:xfrm>
            <a:off x="59502" y="3963794"/>
            <a:ext cx="436385" cy="395619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chemeClr val="accent4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46" name="Google Shape;12246;p1145"/>
          <p:cNvSpPr/>
          <p:nvPr/>
        </p:nvSpPr>
        <p:spPr>
          <a:xfrm>
            <a:off x="10961819" y="2340889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47" name="Google Shape;12247;p1145"/>
          <p:cNvSpPr/>
          <p:nvPr/>
        </p:nvSpPr>
        <p:spPr>
          <a:xfrm>
            <a:off x="10613108" y="1708042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48" name="Google Shape;12248;p1145"/>
          <p:cNvSpPr/>
          <p:nvPr/>
        </p:nvSpPr>
        <p:spPr>
          <a:xfrm>
            <a:off x="10819751" y="2276312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49" name="Google Shape;12249;p1145"/>
          <p:cNvSpPr/>
          <p:nvPr/>
        </p:nvSpPr>
        <p:spPr>
          <a:xfrm>
            <a:off x="10109413" y="2392550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0" name="Google Shape;12250;p1145"/>
          <p:cNvSpPr/>
          <p:nvPr/>
        </p:nvSpPr>
        <p:spPr>
          <a:xfrm>
            <a:off x="10574362" y="2172991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1" name="Google Shape;12251;p1145"/>
          <p:cNvSpPr/>
          <p:nvPr/>
        </p:nvSpPr>
        <p:spPr>
          <a:xfrm>
            <a:off x="10186904" y="2560448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2" name="Google Shape;12252;p1145"/>
          <p:cNvSpPr/>
          <p:nvPr/>
        </p:nvSpPr>
        <p:spPr>
          <a:xfrm>
            <a:off x="71316" y="2805838"/>
            <a:ext cx="364725" cy="32823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3" name="Google Shape;12253;p1145"/>
          <p:cNvSpPr/>
          <p:nvPr/>
        </p:nvSpPr>
        <p:spPr>
          <a:xfrm>
            <a:off x="9262892" y="3571463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4" name="Google Shape;12254;p1145"/>
          <p:cNvSpPr/>
          <p:nvPr/>
        </p:nvSpPr>
        <p:spPr>
          <a:xfrm>
            <a:off x="8967542" y="5101370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5" name="Google Shape;12255;p1145"/>
          <p:cNvSpPr/>
          <p:nvPr/>
        </p:nvSpPr>
        <p:spPr>
          <a:xfrm>
            <a:off x="9487355" y="2939416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6" name="Google Shape;12256;p1145"/>
          <p:cNvSpPr/>
          <p:nvPr/>
        </p:nvSpPr>
        <p:spPr>
          <a:xfrm>
            <a:off x="10591960" y="2395974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7" name="Google Shape;12257;p1145"/>
          <p:cNvSpPr/>
          <p:nvPr/>
        </p:nvSpPr>
        <p:spPr>
          <a:xfrm>
            <a:off x="9658657" y="1716671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8" name="Google Shape;12258;p1145"/>
          <p:cNvSpPr/>
          <p:nvPr/>
        </p:nvSpPr>
        <p:spPr>
          <a:xfrm>
            <a:off x="10125309" y="2325091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59" name="Google Shape;12259;p1145"/>
          <p:cNvSpPr/>
          <p:nvPr/>
        </p:nvSpPr>
        <p:spPr>
          <a:xfrm>
            <a:off x="10420658" y="2348718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60" name="Google Shape;12260;p1145"/>
          <p:cNvSpPr/>
          <p:nvPr/>
        </p:nvSpPr>
        <p:spPr>
          <a:xfrm>
            <a:off x="10905030" y="2514114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61" name="Google Shape;12261;p1145"/>
          <p:cNvSpPr/>
          <p:nvPr/>
        </p:nvSpPr>
        <p:spPr>
          <a:xfrm>
            <a:off x="10639215" y="2537741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62" name="Google Shape;12262;p1145"/>
          <p:cNvSpPr/>
          <p:nvPr/>
        </p:nvSpPr>
        <p:spPr>
          <a:xfrm>
            <a:off x="10940471" y="2218765"/>
            <a:ext cx="188167" cy="202022"/>
          </a:xfrm>
          <a:prstGeom prst="smileyFace">
            <a:avLst>
              <a:gd name="adj" fmla="val 4653"/>
            </a:avLst>
          </a:prstGeom>
          <a:solidFill>
            <a:schemeClr val="accent2"/>
          </a:solidFill>
          <a:ln w="25400" cap="flat" cmpd="sng">
            <a:solidFill>
              <a:srgbClr val="A20A3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263" name="Google Shape;12263;p1145"/>
          <p:cNvSpPr/>
          <p:nvPr/>
        </p:nvSpPr>
        <p:spPr>
          <a:xfrm>
            <a:off x="10664200" y="2401349"/>
            <a:ext cx="206644" cy="245390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 w="25400" cap="flat" cmpd="sng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8" name="Google Shape;12268;p114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ostpartum Safety Data &amp; Toolkit Review</a:t>
            </a:r>
            <a:endParaRPr/>
          </a:p>
        </p:txBody>
      </p:sp>
      <p:sp>
        <p:nvSpPr>
          <p:cNvPr id="12269" name="Google Shape;12269;p114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47DF8-8F76-3D2C-6208-2D27AB24B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0954"/>
            <a:ext cx="8022771" cy="1358219"/>
          </a:xfrm>
        </p:spPr>
        <p:txBody>
          <a:bodyPr/>
          <a:lstStyle/>
          <a:p>
            <a:r>
              <a:rPr lang="en-US" dirty="0"/>
              <a:t>2023 IL Maternal Morbidity and Mortality Report (data from 2018-2020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B22829-F3E8-3ABF-6B2B-E14D789CBD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716768"/>
            <a:ext cx="3450771" cy="4351338"/>
          </a:xfrm>
        </p:spPr>
        <p:txBody>
          <a:bodyPr/>
          <a:lstStyle/>
          <a:p>
            <a:r>
              <a:rPr lang="en-US" sz="2000" b="1" dirty="0"/>
              <a:t>42% of pregnancy-related deaths occurred between 0-1 month postpartum </a:t>
            </a:r>
          </a:p>
          <a:p>
            <a:r>
              <a:rPr lang="en-US" sz="2000" b="1" dirty="0"/>
              <a:t>Provider Recommendation:</a:t>
            </a:r>
            <a:r>
              <a:rPr lang="en-US" sz="2000" dirty="0"/>
              <a:t> Educate patients and their loved ones using culturally relevant informational materials at an appropriate literacy level on urgent maternal warning signs: how to recognize warning signs and when to seek emergency care </a:t>
            </a:r>
            <a:endParaRPr lang="en-US" sz="20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112783-6792-5F8A-09C4-2E3DE4DB8FF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DF104E-0A29-1432-E0AD-DC5039598D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0373" y="1925031"/>
            <a:ext cx="8077200" cy="404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110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74" name="Google Shape;12274;p114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2372" y="1099891"/>
            <a:ext cx="8452883" cy="5502915"/>
          </a:xfrm>
          <a:prstGeom prst="rect">
            <a:avLst/>
          </a:prstGeom>
          <a:noFill/>
          <a:ln>
            <a:noFill/>
          </a:ln>
        </p:spPr>
      </p:pic>
      <p:sp>
        <p:nvSpPr>
          <p:cNvPr id="12275" name="Google Shape;12275;p1147"/>
          <p:cNvSpPr txBox="1">
            <a:spLocks noGrp="1"/>
          </p:cNvSpPr>
          <p:nvPr>
            <p:ph type="title"/>
          </p:nvPr>
        </p:nvSpPr>
        <p:spPr>
          <a:xfrm>
            <a:off x="609600" y="-9561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ostpartum Safety Education</a:t>
            </a:r>
            <a:endParaRPr/>
          </a:p>
        </p:txBody>
      </p:sp>
      <p:sp>
        <p:nvSpPr>
          <p:cNvPr id="12276" name="Google Shape;12276;p1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  <p:sp>
        <p:nvSpPr>
          <p:cNvPr id="12277" name="Google Shape;12277;p1147"/>
          <p:cNvSpPr/>
          <p:nvPr/>
        </p:nvSpPr>
        <p:spPr>
          <a:xfrm>
            <a:off x="9527952" y="4548371"/>
            <a:ext cx="578883" cy="507999"/>
          </a:xfrm>
          <a:prstGeom prst="rect">
            <a:avLst/>
          </a:prstGeom>
          <a:noFill/>
          <a:ln w="25400" cap="flat" cmpd="sng">
            <a:solidFill>
              <a:srgbClr val="0B1E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32%</a:t>
            </a:r>
            <a:endParaRPr/>
          </a:p>
        </p:txBody>
      </p:sp>
      <p:sp>
        <p:nvSpPr>
          <p:cNvPr id="12278" name="Google Shape;12278;p1147"/>
          <p:cNvSpPr/>
          <p:nvPr/>
        </p:nvSpPr>
        <p:spPr>
          <a:xfrm>
            <a:off x="10213161" y="3851348"/>
            <a:ext cx="578883" cy="507999"/>
          </a:xfrm>
          <a:prstGeom prst="rect">
            <a:avLst/>
          </a:prstGeom>
          <a:noFill/>
          <a:ln w="25400" cap="flat" cmpd="sng">
            <a:solidFill>
              <a:srgbClr val="0B1E3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50%</a:t>
            </a:r>
            <a:endParaRPr/>
          </a:p>
        </p:txBody>
      </p:sp>
      <p:sp>
        <p:nvSpPr>
          <p:cNvPr id="12279" name="Google Shape;12279;p1147"/>
          <p:cNvSpPr/>
          <p:nvPr/>
        </p:nvSpPr>
        <p:spPr>
          <a:xfrm>
            <a:off x="9486604" y="3851348"/>
            <a:ext cx="578883" cy="507999"/>
          </a:xfrm>
          <a:prstGeom prst="rect">
            <a:avLst/>
          </a:prstGeom>
          <a:noFill/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50%</a:t>
            </a:r>
            <a:endParaRPr/>
          </a:p>
        </p:txBody>
      </p:sp>
      <p:sp>
        <p:nvSpPr>
          <p:cNvPr id="12280" name="Google Shape;12280;p1147"/>
          <p:cNvSpPr/>
          <p:nvPr/>
        </p:nvSpPr>
        <p:spPr>
          <a:xfrm rot="2700000">
            <a:off x="8222511" y="2752651"/>
            <a:ext cx="1524000" cy="72065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254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5" name="Google Shape;12285;p1148"/>
          <p:cNvSpPr txBox="1">
            <a:spLocks noGrp="1"/>
          </p:cNvSpPr>
          <p:nvPr>
            <p:ph type="title"/>
          </p:nvPr>
        </p:nvSpPr>
        <p:spPr>
          <a:xfrm>
            <a:off x="207926" y="1440195"/>
            <a:ext cx="2466754" cy="35111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3200">
                <a:latin typeface="Arial"/>
                <a:ea typeface="Arial"/>
                <a:cs typeface="Arial"/>
                <a:sym typeface="Arial"/>
              </a:rPr>
              <a:t>Process Flow  for Scheduling 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3200">
                <a:latin typeface="Arial"/>
                <a:ea typeface="Arial"/>
                <a:cs typeface="Arial"/>
                <a:sym typeface="Arial"/>
              </a:rPr>
              <a:t>Early Postpartum Visit</a:t>
            </a:r>
            <a:endParaRPr/>
          </a:p>
        </p:txBody>
      </p:sp>
      <p:sp>
        <p:nvSpPr>
          <p:cNvPr id="12286" name="Google Shape;12286;p1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pic>
        <p:nvPicPr>
          <p:cNvPr id="12287" name="Google Shape;12287;p1148" descr="A diagram of a patient with a baby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54334" y="21857"/>
            <a:ext cx="9435982" cy="67020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Google Shape;12292;p1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4000">
                <a:latin typeface="Arial"/>
                <a:ea typeface="Arial"/>
                <a:cs typeface="Arial"/>
                <a:sym typeface="Arial"/>
              </a:rPr>
              <a:t>What is the role of the </a:t>
            </a:r>
            <a:br>
              <a:rPr lang="en-US" sz="4000">
                <a:latin typeface="Arial"/>
                <a:ea typeface="Arial"/>
                <a:cs typeface="Arial"/>
                <a:sym typeface="Arial"/>
              </a:rPr>
            </a:br>
            <a:r>
              <a:rPr lang="en-US" sz="4000">
                <a:latin typeface="Arial"/>
                <a:ea typeface="Arial"/>
                <a:cs typeface="Arial"/>
                <a:sym typeface="Arial"/>
              </a:rPr>
              <a:t>OB provider for postpartum safety?</a:t>
            </a:r>
            <a:endParaRPr sz="4000"/>
          </a:p>
        </p:txBody>
      </p:sp>
      <p:sp>
        <p:nvSpPr>
          <p:cNvPr id="12293" name="Google Shape;12293;p11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sz="2000"/>
              <a:t>Counsel all patients on the plan for early postpartum visit and why a maternal health safety check within 2 weeks is important (discuss key components of visit), document plan/discussion</a:t>
            </a:r>
            <a:endParaRPr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sz="2000"/>
              <a:t>Make sure patient receives pp education material before discharge:</a:t>
            </a:r>
            <a:endParaRPr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600"/>
              <a:t>Benefit of early postpartum visit</a:t>
            </a:r>
            <a:endParaRPr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600"/>
              <a:t>Postpartum early warning signs and how to seek care</a:t>
            </a:r>
            <a:endParaRPr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600"/>
              <a:t>Benefits of pregnancy spacing, family planning options</a:t>
            </a:r>
            <a:endParaRPr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sz="2000"/>
              <a:t>Facilitate scheduling early postpartum visit (within 2 weeks) for all patients, document in chart</a:t>
            </a:r>
            <a:endParaRPr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sz="2000"/>
              <a:t>Confirm patients receive early pp visit within 2 weeks/ maternal health safety check and use check list for key components</a:t>
            </a:r>
            <a:endParaRPr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sz="2000"/>
              <a:t>Document and bill for early postpartum visit</a:t>
            </a:r>
            <a:endParaRPr/>
          </a:p>
          <a:p>
            <a:pPr marL="4572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  <p:sp>
        <p:nvSpPr>
          <p:cNvPr id="12294" name="Google Shape;12294;p1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9" name="Google Shape;11939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0" name="Google Shape;11940;p2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1" name="Google Shape;11941;p2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490"/>
                </a:srgbClr>
              </a:gs>
              <a:gs pos="100000">
                <a:srgbClr val="1C498B">
                  <a:alpha val="45490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2" name="Google Shape;11942;p2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235"/>
                </a:srgbClr>
              </a:gs>
              <a:gs pos="2000">
                <a:srgbClr val="1C498B">
                  <a:alpha val="28235"/>
                </a:srgbClr>
              </a:gs>
              <a:gs pos="100000">
                <a:srgbClr val="000000">
                  <a:alpha val="29411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3" name="Google Shape;11943;p2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35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4" name="Google Shape;11944;p2"/>
          <p:cNvSpPr/>
          <p:nvPr/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588"/>
                </a:srgbClr>
              </a:gs>
              <a:gs pos="100000">
                <a:srgbClr val="5189DD">
                  <a:alpha val="10588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5" name="Google Shape;11945;p2"/>
          <p:cNvSpPr txBox="1"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Call Overview</a:t>
            </a:r>
            <a:endParaRPr/>
          </a:p>
        </p:txBody>
      </p:sp>
      <p:sp>
        <p:nvSpPr>
          <p:cNvPr id="11946" name="Google Shape;11946;p2"/>
          <p:cNvSpPr txBox="1">
            <a:spLocks noGrp="1"/>
          </p:cNvSpPr>
          <p:nvPr>
            <p:ph type="ftr" idx="11"/>
          </p:nvPr>
        </p:nvSpPr>
        <p:spPr>
          <a:xfrm rot="5400000">
            <a:off x="-1828800" y="1984248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947" name="Google Shape;11947;p2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CA5AE"/>
              </a:buClr>
              <a:buSzPts val="1100"/>
              <a:buFont typeface="Calibri"/>
              <a:buNone/>
            </a:pPr>
            <a:fld id="{00000000-1234-1234-1234-123412341234}" type="slidenum">
              <a:rPr lang="en-US" sz="1100" b="0" i="0" u="none" strike="noStrike" cap="none">
                <a:solidFill>
                  <a:srgbClr val="9CA5AE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100" b="0" i="0" u="none" strike="noStrike" cap="none">
              <a:solidFill>
                <a:srgbClr val="9CA5A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948" name="Google Shape;11948;p2"/>
          <p:cNvGrpSpPr/>
          <p:nvPr/>
        </p:nvGrpSpPr>
        <p:grpSpPr>
          <a:xfrm>
            <a:off x="4435782" y="898199"/>
            <a:ext cx="7281349" cy="5065920"/>
            <a:chOff x="0" y="372209"/>
            <a:chExt cx="7281349" cy="5065920"/>
          </a:xfrm>
        </p:grpSpPr>
        <p:sp>
          <p:nvSpPr>
            <p:cNvPr id="11949" name="Google Shape;11949;p2"/>
            <p:cNvSpPr/>
            <p:nvPr/>
          </p:nvSpPr>
          <p:spPr>
            <a:xfrm>
              <a:off x="0" y="3722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DA1FD"/>
                </a:gs>
                <a:gs pos="50000">
                  <a:srgbClr val="6292FE"/>
                </a:gs>
                <a:gs pos="100000">
                  <a:srgbClr val="4D7D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0" name="Google Shape;11950;p2"/>
            <p:cNvSpPr txBox="1"/>
            <p:nvPr/>
          </p:nvSpPr>
          <p:spPr>
            <a:xfrm>
              <a:off x="37467" y="40967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ILPQC Recap – Annual Conference 2023</a:t>
              </a:r>
              <a:endParaRPr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51" name="Google Shape;11951;p2"/>
            <p:cNvSpPr/>
            <p:nvPr/>
          </p:nvSpPr>
          <p:spPr>
            <a:xfrm>
              <a:off x="0" y="123188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2D9F5"/>
                </a:gs>
                <a:gs pos="50000">
                  <a:srgbClr val="54D8F9"/>
                </a:gs>
                <a:gs pos="100000">
                  <a:srgbClr val="41C4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2" name="Google Shape;11952;p2"/>
            <p:cNvSpPr txBox="1"/>
            <p:nvPr/>
          </p:nvSpPr>
          <p:spPr>
            <a:xfrm>
              <a:off x="37467" y="126935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BE Data Review</a:t>
              </a:r>
              <a:endParaRPr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53" name="Google Shape;11953;p2"/>
            <p:cNvSpPr/>
            <p:nvPr/>
          </p:nvSpPr>
          <p:spPr>
            <a:xfrm>
              <a:off x="0" y="209156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AE9C0"/>
                </a:gs>
                <a:gs pos="50000">
                  <a:srgbClr val="4BEDBA"/>
                </a:gs>
                <a:gs pos="100000">
                  <a:srgbClr val="3AD9A7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4" name="Google Shape;11954;p2"/>
            <p:cNvSpPr/>
            <p:nvPr/>
          </p:nvSpPr>
          <p:spPr>
            <a:xfrm>
              <a:off x="0" y="295124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4DC78"/>
                </a:gs>
                <a:gs pos="50000">
                  <a:srgbClr val="44DE60"/>
                </a:gs>
                <a:gs pos="100000">
                  <a:srgbClr val="33CC4F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5" name="Google Shape;11955;p2"/>
            <p:cNvSpPr/>
            <p:nvPr/>
          </p:nvSpPr>
          <p:spPr>
            <a:xfrm>
              <a:off x="0" y="381092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80CE61"/>
                </a:gs>
                <a:gs pos="50000">
                  <a:srgbClr val="6DCE3F"/>
                </a:gs>
                <a:gs pos="100000">
                  <a:srgbClr val="5DBD30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6" name="Google Shape;11956;p2"/>
            <p:cNvSpPr txBox="1"/>
            <p:nvPr/>
          </p:nvSpPr>
          <p:spPr>
            <a:xfrm>
              <a:off x="37467" y="3819642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Additional Resources / Announcement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7" name="Google Shape;11957;p2"/>
            <p:cNvSpPr/>
            <p:nvPr/>
          </p:nvSpPr>
          <p:spPr>
            <a:xfrm>
              <a:off x="0" y="46706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ACBC5F"/>
                </a:gs>
                <a:gs pos="50000">
                  <a:srgbClr val="A4B83F"/>
                </a:gs>
                <a:gs pos="100000">
                  <a:srgbClr val="94A73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8" name="Google Shape;11958;p2"/>
            <p:cNvSpPr txBox="1"/>
            <p:nvPr/>
          </p:nvSpPr>
          <p:spPr>
            <a:xfrm>
              <a:off x="37467" y="4736831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Wrap Up</a:t>
              </a:r>
              <a:endParaRPr/>
            </a:p>
          </p:txBody>
        </p:sp>
        <p:sp>
          <p:nvSpPr>
            <p:cNvPr id="11959" name="Google Shape;11959;p2"/>
            <p:cNvSpPr txBox="1"/>
            <p:nvPr/>
          </p:nvSpPr>
          <p:spPr>
            <a:xfrm>
              <a:off x="37467" y="3006055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STAMPP-HTN: Dr. Sarosh Rana</a:t>
              </a:r>
              <a:endParaRPr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60" name="Google Shape;11960;p2"/>
          <p:cNvSpPr txBox="1"/>
          <p:nvPr/>
        </p:nvSpPr>
        <p:spPr>
          <a:xfrm>
            <a:off x="4465693" y="2648223"/>
            <a:ext cx="7206415" cy="692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ostpartum Safety Toolkit Review</a:t>
            </a:r>
            <a:endParaRPr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9" name="Google Shape;12299;p11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4000">
                <a:latin typeface="Arial"/>
                <a:ea typeface="Arial"/>
                <a:cs typeface="Arial"/>
                <a:sym typeface="Arial"/>
              </a:rPr>
              <a:t>What is the role of the OB Nurse for postpartum safety?</a:t>
            </a:r>
            <a:endParaRPr sz="4000"/>
          </a:p>
        </p:txBody>
      </p:sp>
      <p:sp>
        <p:nvSpPr>
          <p:cNvPr id="12300" name="Google Shape;12300;p1150"/>
          <p:cNvSpPr txBox="1">
            <a:spLocks noGrp="1"/>
          </p:cNvSpPr>
          <p:nvPr>
            <p:ph type="body" idx="1"/>
          </p:nvPr>
        </p:nvSpPr>
        <p:spPr>
          <a:xfrm>
            <a:off x="609600" y="168976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Understand maternal risks in the postpartum period and benefits of early postpartum visit / maternal health safety check</a:t>
            </a:r>
            <a:endParaRPr dirty="0"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Make sure patient receives pp education material before discharge:</a:t>
            </a:r>
            <a:endParaRPr dirty="0"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800" dirty="0">
                <a:solidFill>
                  <a:srgbClr val="444C55"/>
                </a:solidFill>
              </a:rPr>
              <a:t>Benefit</a:t>
            </a:r>
            <a:r>
              <a:rPr lang="en-US" sz="1800" dirty="0"/>
              <a:t> of early postpartum visit</a:t>
            </a:r>
            <a:endParaRPr dirty="0"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800" dirty="0"/>
              <a:t>Postpartum early warning signs and how to seek care</a:t>
            </a:r>
            <a:endParaRPr dirty="0"/>
          </a:p>
          <a:p>
            <a:pPr marL="914400" lvl="1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C498B"/>
              </a:buClr>
              <a:buSzPts val="1800"/>
              <a:buFont typeface="Courier New"/>
              <a:buChar char="o"/>
            </a:pPr>
            <a:r>
              <a:rPr lang="en-US" sz="1800" dirty="0"/>
              <a:t>Benefits of pregnancy spacing, family planning options</a:t>
            </a:r>
            <a:endParaRPr dirty="0"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Facilitate and help ensure scheduling early postpartum visit (within 2 weeks) for all patients before hospital discharge, confirm documented in chart and discharge instructions</a:t>
            </a:r>
            <a:endParaRPr dirty="0"/>
          </a:p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 dirty="0"/>
              <a:t>Discharge conversation ensure patient understands key pp education materials, understands plan for early postpartum visit, and has appointment scheduled. </a:t>
            </a:r>
            <a:endParaRPr dirty="0"/>
          </a:p>
          <a:p>
            <a:pPr marL="4572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endParaRPr dirty="0"/>
          </a:p>
        </p:txBody>
      </p:sp>
      <p:sp>
        <p:nvSpPr>
          <p:cNvPr id="12301" name="Google Shape;12301;p1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59" y="168635"/>
            <a:ext cx="6078924" cy="237492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577468" y="1278036"/>
            <a:ext cx="5674113" cy="5355312"/>
          </a:xfrm>
          <a:prstGeom prst="rect">
            <a:avLst/>
          </a:prstGeom>
          <a:ln w="571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dirty="0"/>
              <a:t>This notice confirms coverage for a second postpartum visit required by Public Act 102-0665.  This policy applies to both Medicaid fee-for-service and the HealthChoice Illinois managed care plans.</a:t>
            </a:r>
          </a:p>
          <a:p>
            <a:endParaRPr lang="en-US" dirty="0"/>
          </a:p>
          <a:p>
            <a:r>
              <a:rPr lang="en-US" dirty="0"/>
              <a:t>The Act specifies coverage for a postpartum visit within the first 3 weeks after childbirth and a comprehensive visit within 4 to 12 weeks postpartum for persons who are otherwise eligible for Medical Assistance. Department policy already allows for one postpartum visit. Providers may bill the same procedure code, 0503F – Postpartum Care Visit, twice during the postpartum period and be reimbursed in accordance with the Act.</a:t>
            </a:r>
          </a:p>
          <a:p>
            <a:endParaRPr lang="en-US" dirty="0"/>
          </a:p>
          <a:p>
            <a:r>
              <a:rPr lang="en-US" dirty="0"/>
              <a:t>This policy is retroactive to dates of service beginning October 8, 2021. Questions may be directed to the Bureau of Professional and Ancillary Services at 877-782-5565 or the applicable managed care plan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338" y="3016671"/>
            <a:ext cx="4681513" cy="13942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93649" y="4884039"/>
            <a:ext cx="4531112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400" dirty="0">
                <a:hlinkClick r:id="rId4"/>
              </a:rPr>
              <a:t>https://hfs.illinois.gov/medicalproviders/notices/notice.prn211221b.html</a:t>
            </a:r>
            <a:r>
              <a:rPr lang="en-US" sz="2400" dirty="0"/>
              <a:t>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7381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6" name="Google Shape;12306;p1151"/>
          <p:cNvSpPr txBox="1">
            <a:spLocks noGrp="1"/>
          </p:cNvSpPr>
          <p:nvPr>
            <p:ph type="title"/>
          </p:nvPr>
        </p:nvSpPr>
        <p:spPr>
          <a:xfrm>
            <a:off x="237460" y="46149"/>
            <a:ext cx="4014381" cy="1815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sz="3200"/>
              <a:t>I-PROMOTE IL Postpartum Medicaid Expansion Flyers</a:t>
            </a:r>
            <a:endParaRPr/>
          </a:p>
        </p:txBody>
      </p:sp>
      <p:sp>
        <p:nvSpPr>
          <p:cNvPr id="12307" name="Google Shape;12307;p1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  <p:pic>
        <p:nvPicPr>
          <p:cNvPr id="12308" name="Google Shape;12308;p1151" descr="A person sitting at a table with a docto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66933" y="116146"/>
            <a:ext cx="3711242" cy="5036288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09" name="Google Shape;12309;p1151" descr="A poster of a doctor and a patien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005999" y="1326462"/>
            <a:ext cx="4072056" cy="5402522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10" name="Google Shape;12310;p115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85448" y="1809329"/>
            <a:ext cx="3713222" cy="4912241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5" name="Google Shape;12315;p1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ACOG Committee Opinion</a:t>
            </a:r>
            <a:endParaRPr/>
          </a:p>
        </p:txBody>
      </p:sp>
      <p:sp>
        <p:nvSpPr>
          <p:cNvPr id="12316" name="Google Shape;12316;p1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3</a:t>
            </a:fld>
            <a:endParaRPr/>
          </a:p>
        </p:txBody>
      </p:sp>
      <p:pic>
        <p:nvPicPr>
          <p:cNvPr id="12317" name="Google Shape;12317;p1152" descr="A screenshot of a medical care program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96469" y="1428916"/>
            <a:ext cx="9598502" cy="4751357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22" name="Google Shape;12322;p1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AIM Patient Safety Bundle</a:t>
            </a:r>
            <a:endParaRPr/>
          </a:p>
        </p:txBody>
      </p:sp>
      <p:sp>
        <p:nvSpPr>
          <p:cNvPr id="12323" name="Google Shape;12323;p1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  <p:pic>
        <p:nvPicPr>
          <p:cNvPr id="12324" name="Google Shape;12324;p1153" descr="A screenshot of a websit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5395" y="1500390"/>
            <a:ext cx="6096000" cy="3284243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25" name="Google Shape;12325;p1153" descr="A white background with purple tex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66047" y="3015231"/>
            <a:ext cx="6096000" cy="3538841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30" name="Google Shape;12330;p1154"/>
          <p:cNvSpPr txBox="1">
            <a:spLocks noGrp="1"/>
          </p:cNvSpPr>
          <p:nvPr>
            <p:ph type="title"/>
          </p:nvPr>
        </p:nvSpPr>
        <p:spPr>
          <a:xfrm>
            <a:off x="385135" y="317870"/>
            <a:ext cx="2525824" cy="56376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dirty="0"/>
              <a:t>ILPQC Resources</a:t>
            </a:r>
            <a:br>
              <a:rPr lang="en-US" dirty="0"/>
            </a:br>
            <a:r>
              <a:rPr lang="en-US" dirty="0"/>
              <a:t>Early PP Visit</a:t>
            </a:r>
            <a:br>
              <a:rPr lang="en-US" dirty="0"/>
            </a:br>
            <a:r>
              <a:rPr lang="en-US" dirty="0"/>
              <a:t>Maternal Health Safety Checklist &amp; Patient Resource</a:t>
            </a:r>
            <a:endParaRPr dirty="0"/>
          </a:p>
        </p:txBody>
      </p:sp>
      <p:sp>
        <p:nvSpPr>
          <p:cNvPr id="12331" name="Google Shape;12331;p1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  <p:pic>
        <p:nvPicPr>
          <p:cNvPr id="12332" name="Google Shape;12332;p1154" descr="A diagram of a health safety check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734641" y="1108740"/>
            <a:ext cx="4230486" cy="5674241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33" name="Google Shape;12333;p1154" descr="A medical checklist with tex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912881" y="199066"/>
            <a:ext cx="4546890" cy="5880986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6" name="Google Shape;12346;p1156"/>
          <p:cNvSpPr txBox="1">
            <a:spLocks noGrp="1"/>
          </p:cNvSpPr>
          <p:nvPr>
            <p:ph type="title"/>
          </p:nvPr>
        </p:nvSpPr>
        <p:spPr>
          <a:xfrm>
            <a:off x="264543" y="1314030"/>
            <a:ext cx="3554084" cy="1339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AWHONN Post-Birth Warning Signs Campaign</a:t>
            </a:r>
            <a:endParaRPr/>
          </a:p>
        </p:txBody>
      </p:sp>
      <p:sp>
        <p:nvSpPr>
          <p:cNvPr id="12347" name="Google Shape;12347;p1156"/>
          <p:cNvSpPr txBox="1">
            <a:spLocks noGrp="1"/>
          </p:cNvSpPr>
          <p:nvPr>
            <p:ph type="body" idx="1"/>
          </p:nvPr>
        </p:nvSpPr>
        <p:spPr>
          <a:xfrm>
            <a:off x="422694" y="3191473"/>
            <a:ext cx="2935857" cy="2525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/>
              <a:t>Available in 5 languages: English, Spanish, Arabic, Mandarin Chinese, Haitian Cerole</a:t>
            </a:r>
            <a:endParaRPr/>
          </a:p>
        </p:txBody>
      </p:sp>
      <p:sp>
        <p:nvSpPr>
          <p:cNvPr id="12348" name="Google Shape;12348;p1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  <p:pic>
        <p:nvPicPr>
          <p:cNvPr id="12349" name="Google Shape;12349;p11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658279" y="422694"/>
            <a:ext cx="4084688" cy="5293743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50" name="Google Shape;12350;p1156" descr="A white and red medical form with red and yellow tex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47869" y="1414732"/>
            <a:ext cx="4130639" cy="5300932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5" name="Google Shape;12355;p1157"/>
          <p:cNvSpPr txBox="1">
            <a:spLocks noGrp="1"/>
          </p:cNvSpPr>
          <p:nvPr>
            <p:ph type="title"/>
          </p:nvPr>
        </p:nvSpPr>
        <p:spPr>
          <a:xfrm>
            <a:off x="574158" y="-1108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CDC Hear Her Campaign</a:t>
            </a:r>
            <a:endParaRPr/>
          </a:p>
        </p:txBody>
      </p:sp>
      <p:sp>
        <p:nvSpPr>
          <p:cNvPr id="12356" name="Google Shape;12356;p1157"/>
          <p:cNvSpPr txBox="1">
            <a:spLocks noGrp="1"/>
          </p:cNvSpPr>
          <p:nvPr>
            <p:ph type="body" idx="1"/>
          </p:nvPr>
        </p:nvSpPr>
        <p:spPr>
          <a:xfrm>
            <a:off x="609600" y="104590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en-US"/>
              <a:t>Maternal Warning Signs translated into 17 languages</a:t>
            </a:r>
            <a:endParaRPr/>
          </a:p>
        </p:txBody>
      </p:sp>
      <p:sp>
        <p:nvSpPr>
          <p:cNvPr id="12357" name="Google Shape;12357;p1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7</a:t>
            </a:fld>
            <a:endParaRPr/>
          </a:p>
        </p:txBody>
      </p:sp>
      <p:pic>
        <p:nvPicPr>
          <p:cNvPr id="12358" name="Google Shape;12358;p115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8035" y="1648949"/>
            <a:ext cx="3852309" cy="4983125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59" name="Google Shape;12359;p1157" descr="A screenshot of a warning sign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492669" y="1649954"/>
            <a:ext cx="3575124" cy="4977216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  <p:pic>
        <p:nvPicPr>
          <p:cNvPr id="12360" name="Google Shape;12360;p1157" descr="A screenshot of a questionnair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263677" y="1645271"/>
            <a:ext cx="3623795" cy="4983125"/>
          </a:xfrm>
          <a:prstGeom prst="rect">
            <a:avLst/>
          </a:prstGeom>
          <a:noFill/>
          <a:ln w="381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2745"/>
              </a:srgbClr>
            </a:outerShdw>
          </a:effec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5" name="Google Shape;12365;p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STAMPP-HTN Presentation</a:t>
            </a:r>
            <a:endParaRPr/>
          </a:p>
        </p:txBody>
      </p:sp>
      <p:sp>
        <p:nvSpPr>
          <p:cNvPr id="12366" name="Google Shape;12366;p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Dr. Sarosh Rana, MD, MPH, FACOG</a:t>
            </a:r>
            <a:endParaRPr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72" name="Google Shape;12372;p1158" descr="A picture containing person, indoor, wall&#10;&#10;Description automatically generated"/>
          <p:cNvPicPr preferRelativeResize="0"/>
          <p:nvPr/>
        </p:nvPicPr>
        <p:blipFill rotWithShape="1">
          <a:blip r:embed="rId3">
            <a:alphaModFix amt="50000"/>
          </a:blip>
          <a:srcRect/>
          <a:stretch/>
        </p:blipFill>
        <p:spPr>
          <a:xfrm>
            <a:off x="476138" y="309400"/>
            <a:ext cx="11063323" cy="5742177"/>
          </a:xfrm>
          <a:prstGeom prst="rect">
            <a:avLst/>
          </a:prstGeom>
          <a:noFill/>
          <a:ln>
            <a:noFill/>
          </a:ln>
        </p:spPr>
      </p:pic>
      <p:sp>
        <p:nvSpPr>
          <p:cNvPr id="12373" name="Google Shape;12373;p1158"/>
          <p:cNvSpPr txBox="1">
            <a:spLocks noGrp="1"/>
          </p:cNvSpPr>
          <p:nvPr>
            <p:ph type="ctrTitle"/>
          </p:nvPr>
        </p:nvSpPr>
        <p:spPr>
          <a:xfrm>
            <a:off x="6096000" y="429322"/>
            <a:ext cx="5443461" cy="3673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3750"/>
              <a:buFont typeface="Libre Franklin"/>
              <a:buNone/>
            </a:pPr>
            <a:r>
              <a:rPr lang="en-US" sz="375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-</a:t>
            </a:r>
            <a:r>
              <a:rPr lang="en-US" sz="3750" i="1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HTN</a:t>
            </a:r>
            <a:br>
              <a:rPr lang="en-US" sz="375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</a:br>
            <a:r>
              <a:rPr lang="en-US" sz="375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ystematic Treatment And Management of Postpartum Hypertension</a:t>
            </a:r>
            <a:endParaRPr/>
          </a:p>
        </p:txBody>
      </p:sp>
      <p:sp>
        <p:nvSpPr>
          <p:cNvPr id="12374" name="Google Shape;12374;p1158"/>
          <p:cNvSpPr txBox="1"/>
          <p:nvPr/>
        </p:nvSpPr>
        <p:spPr>
          <a:xfrm>
            <a:off x="6438274" y="4103031"/>
            <a:ext cx="5592381" cy="1715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arosh Rana, MD, MPH, FACOG</a:t>
            </a:r>
            <a:endParaRPr/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rofessor of Obstetrics and Gynecology</a:t>
            </a:r>
            <a:endParaRPr/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ection Chief, Maternal-Fetal Medicine</a:t>
            </a:r>
            <a:endParaRPr/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hief Obstetrical Transformation Officer   </a:t>
            </a:r>
            <a:endParaRPr/>
          </a:p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University of Chicago Medicine</a:t>
            </a:r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5" name="Google Shape;11965;p1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Annual Conference 2023</a:t>
            </a:r>
            <a:endParaRPr/>
          </a:p>
        </p:txBody>
      </p:sp>
      <p:sp>
        <p:nvSpPr>
          <p:cNvPr id="11966" name="Google Shape;11966;p1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80" name="Google Shape;12380;p1159"/>
          <p:cNvGrpSpPr/>
          <p:nvPr/>
        </p:nvGrpSpPr>
        <p:grpSpPr>
          <a:xfrm>
            <a:off x="4242217" y="3140094"/>
            <a:ext cx="7585021" cy="3470568"/>
            <a:chOff x="2628694" y="4129279"/>
            <a:chExt cx="6480137" cy="2716998"/>
          </a:xfrm>
        </p:grpSpPr>
        <p:pic>
          <p:nvPicPr>
            <p:cNvPr id="12381" name="Google Shape;12381;p1159" descr="A picture containing person, indoor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 b="-1"/>
            <a:stretch/>
          </p:blipFill>
          <p:spPr>
            <a:xfrm>
              <a:off x="4279821" y="4129279"/>
              <a:ext cx="4829010" cy="271699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382" name="Google Shape;12382;p1159"/>
            <p:cNvSpPr txBox="1"/>
            <p:nvPr/>
          </p:nvSpPr>
          <p:spPr>
            <a:xfrm>
              <a:off x="2628694" y="6020098"/>
              <a:ext cx="1499234" cy="3614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0" i="0" u="none" strike="noStrike" cap="none">
                  <a:solidFill>
                    <a:srgbClr val="A20605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CDC</a:t>
              </a:r>
              <a:r>
                <a:rPr lang="en-US" sz="2000" b="1" i="0" u="none" strike="noStrike" cap="none">
                  <a:solidFill>
                    <a:srgbClr val="A20605"/>
                  </a:solidFill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lang="en-US" sz="2000" b="1" i="0" u="none" strike="noStrike" cap="none">
                  <a:solidFill>
                    <a:srgbClr val="A20605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2019</a:t>
              </a:r>
              <a:endParaRPr/>
            </a:p>
          </p:txBody>
        </p:sp>
      </p:grpSp>
      <p:pic>
        <p:nvPicPr>
          <p:cNvPr id="12383" name="Google Shape;12383;p1159" descr="Chart, bar char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5097" y="434664"/>
            <a:ext cx="4374589" cy="3874446"/>
          </a:xfrm>
          <a:prstGeom prst="rect">
            <a:avLst/>
          </a:prstGeom>
          <a:noFill/>
          <a:ln>
            <a:noFill/>
          </a:ln>
        </p:spPr>
      </p:pic>
      <p:sp>
        <p:nvSpPr>
          <p:cNvPr id="12384" name="Google Shape;12384;p1159"/>
          <p:cNvSpPr txBox="1"/>
          <p:nvPr/>
        </p:nvSpPr>
        <p:spPr>
          <a:xfrm>
            <a:off x="6137133" y="434664"/>
            <a:ext cx="5690106" cy="2435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Pregnancy-related maternal mortality ratio (PAMR; the number of deaths that occurred for every 100,000 live births) is higher in Illinois compared to the US and is even higher among African American women in Illinois (IL). </a:t>
            </a:r>
            <a:endParaRPr/>
          </a:p>
        </p:txBody>
      </p:sp>
      <p:sp>
        <p:nvSpPr>
          <p:cNvPr id="12385" name="Google Shape;12385;p1159"/>
          <p:cNvSpPr/>
          <p:nvPr/>
        </p:nvSpPr>
        <p:spPr>
          <a:xfrm>
            <a:off x="4242217" y="1071828"/>
            <a:ext cx="548640" cy="2926080"/>
          </a:xfrm>
          <a:prstGeom prst="ellipse">
            <a:avLst/>
          </a:prstGeom>
          <a:noFill/>
          <a:ln w="603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1" name="Google Shape;12391;p1160" descr="Diagram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09622" y="188512"/>
            <a:ext cx="6669488" cy="6669488"/>
          </a:xfrm>
          <a:prstGeom prst="rect">
            <a:avLst/>
          </a:prstGeom>
          <a:noFill/>
          <a:ln>
            <a:noFill/>
          </a:ln>
        </p:spPr>
      </p:pic>
      <p:sp>
        <p:nvSpPr>
          <p:cNvPr id="12392" name="Google Shape;12392;p1160"/>
          <p:cNvSpPr txBox="1"/>
          <p:nvPr/>
        </p:nvSpPr>
        <p:spPr>
          <a:xfrm>
            <a:off x="0" y="374755"/>
            <a:ext cx="4952764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0" u="none" strike="noStrike" cap="none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ultifactorial nature of disparities in hypertensive disorders of pregnancy</a:t>
            </a:r>
            <a:endParaRPr/>
          </a:p>
        </p:txBody>
      </p:sp>
      <p:sp>
        <p:nvSpPr>
          <p:cNvPr id="12393" name="Google Shape;12393;p1160"/>
          <p:cNvSpPr txBox="1"/>
          <p:nvPr/>
        </p:nvSpPr>
        <p:spPr>
          <a:xfrm>
            <a:off x="235074" y="4714407"/>
            <a:ext cx="4717690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ana S et al</a:t>
            </a: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. Racial Disparities in diagnosis, management and outcomes in preeclampsia.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urr Hypertens Rep.2022 Mar 7. </a:t>
            </a:r>
            <a:endParaRPr sz="1400" b="0" i="0" u="none" strike="noStrike" cap="none">
              <a:solidFill>
                <a:srgbClr val="72725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8" name="Google Shape;12398;p1161"/>
          <p:cNvSpPr txBox="1"/>
          <p:nvPr/>
        </p:nvSpPr>
        <p:spPr>
          <a:xfrm>
            <a:off x="405818" y="262427"/>
            <a:ext cx="4582324" cy="20621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0" u="none" strike="noStrike" cap="none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pproach to racial disparity reduction in hypertensive disorders of pregnancy</a:t>
            </a:r>
            <a:endParaRPr/>
          </a:p>
        </p:txBody>
      </p:sp>
      <p:pic>
        <p:nvPicPr>
          <p:cNvPr id="12399" name="Google Shape;12399;p116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12176" y="132427"/>
            <a:ext cx="6395473" cy="6593145"/>
          </a:xfrm>
          <a:prstGeom prst="rect">
            <a:avLst/>
          </a:prstGeom>
          <a:noFill/>
          <a:ln>
            <a:noFill/>
          </a:ln>
        </p:spPr>
      </p:pic>
      <p:sp>
        <p:nvSpPr>
          <p:cNvPr id="12400" name="Google Shape;12400;p1161"/>
          <p:cNvSpPr/>
          <p:nvPr/>
        </p:nvSpPr>
        <p:spPr>
          <a:xfrm>
            <a:off x="7612370" y="4814259"/>
            <a:ext cx="1970216" cy="1847518"/>
          </a:xfrm>
          <a:prstGeom prst="rect">
            <a:avLst/>
          </a:prstGeom>
          <a:noFill/>
          <a:ln w="508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01" name="Google Shape;12401;p1161"/>
          <p:cNvSpPr/>
          <p:nvPr/>
        </p:nvSpPr>
        <p:spPr>
          <a:xfrm>
            <a:off x="5547411" y="2686898"/>
            <a:ext cx="1970216" cy="1847518"/>
          </a:xfrm>
          <a:prstGeom prst="rect">
            <a:avLst/>
          </a:prstGeom>
          <a:noFill/>
          <a:ln w="508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02" name="Google Shape;12402;p1161"/>
          <p:cNvSpPr/>
          <p:nvPr/>
        </p:nvSpPr>
        <p:spPr>
          <a:xfrm>
            <a:off x="7524804" y="262427"/>
            <a:ext cx="1970216" cy="1847518"/>
          </a:xfrm>
          <a:prstGeom prst="rect">
            <a:avLst/>
          </a:prstGeom>
          <a:noFill/>
          <a:ln w="508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03" name="Google Shape;12403;p1161"/>
          <p:cNvSpPr txBox="1"/>
          <p:nvPr/>
        </p:nvSpPr>
        <p:spPr>
          <a:xfrm>
            <a:off x="220829" y="4878054"/>
            <a:ext cx="4717690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ana S et al</a:t>
            </a: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. Racial Disparities in diagnosis, management and outcomes in preeclampsia.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urr Hypertens Rep.2022 Mar 7. </a:t>
            </a:r>
            <a:endParaRPr sz="1400" b="0" i="0" u="none" strike="noStrike" cap="none">
              <a:solidFill>
                <a:srgbClr val="72725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9" name="Google Shape;12409;p1162"/>
          <p:cNvSpPr txBox="1">
            <a:spLocks noGrp="1"/>
          </p:cNvSpPr>
          <p:nvPr>
            <p:ph type="title"/>
          </p:nvPr>
        </p:nvSpPr>
        <p:spPr>
          <a:xfrm>
            <a:off x="1911262" y="214861"/>
            <a:ext cx="8132588" cy="558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roblems at the level of the hospital</a:t>
            </a:r>
            <a:endParaRPr/>
          </a:p>
        </p:txBody>
      </p:sp>
      <p:sp>
        <p:nvSpPr>
          <p:cNvPr id="12410" name="Google Shape;12410;p1162"/>
          <p:cNvSpPr txBox="1">
            <a:spLocks noGrp="1"/>
          </p:cNvSpPr>
          <p:nvPr>
            <p:ph type="body" idx="1"/>
          </p:nvPr>
        </p:nvSpPr>
        <p:spPr>
          <a:xfrm>
            <a:off x="404735" y="927029"/>
            <a:ext cx="9820544" cy="5218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/>
          <a:p>
            <a:pPr marL="349250" lvl="0" indent="-3413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800"/>
              <a:buFont typeface="Noto Sans Symbols"/>
              <a:buChar char="⮚"/>
            </a:pPr>
            <a:r>
              <a:rPr lang="en-US" sz="2800" b="1">
                <a:solidFill>
                  <a:srgbClr val="0070C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t the time of admission and discharge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General lack of knowledge among patients about the long-term effects of preeclampsia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No organized effort to educate patients 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Discharge instructions are not universally given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No dedicated postpartum clinic for easy access to care</a:t>
            </a:r>
            <a:endParaRPr/>
          </a:p>
          <a:p>
            <a:pPr marL="225015" lvl="0" indent="-225015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800"/>
              <a:buFont typeface="Noto Sans Symbols"/>
              <a:buChar char="⮚"/>
            </a:pPr>
            <a:r>
              <a:rPr lang="en-US" sz="2800" b="1">
                <a:solidFill>
                  <a:srgbClr val="0070C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roblems with readmissions in ED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Identifying postpartum patients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Poor knowledge about the definition of PPHTN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Calling medicine or cardiology instead of OB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Delayed transfer to L/D</a:t>
            </a:r>
            <a:endParaRPr/>
          </a:p>
          <a:p>
            <a:pPr marL="417888" lvl="1" indent="-160727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Delay in recognition and treatment of severe PPHTN</a:t>
            </a:r>
            <a:endParaRPr/>
          </a:p>
          <a:p>
            <a:pPr marL="225015" lvl="0" indent="-225015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800"/>
              <a:buFont typeface="Noto Sans Symbols"/>
              <a:buChar char="⮚"/>
            </a:pPr>
            <a:r>
              <a:rPr lang="en-US" sz="2800" b="1">
                <a:solidFill>
                  <a:srgbClr val="0070C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No standardized management for readmissions for PPHTN</a:t>
            </a:r>
            <a:endParaRPr/>
          </a:p>
        </p:txBody>
      </p:sp>
      <p:pic>
        <p:nvPicPr>
          <p:cNvPr id="12411" name="Google Shape;12411;p1162" descr="A person sitting in a chai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646959" y="2909970"/>
            <a:ext cx="3156639" cy="209674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7" name="Google Shape;12417;p1163"/>
          <p:cNvSpPr txBox="1">
            <a:spLocks noGrp="1"/>
          </p:cNvSpPr>
          <p:nvPr>
            <p:ph type="title"/>
          </p:nvPr>
        </p:nvSpPr>
        <p:spPr>
          <a:xfrm>
            <a:off x="1493145" y="5002163"/>
            <a:ext cx="4190785" cy="1218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36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 HTN team</a:t>
            </a:r>
            <a:endParaRPr/>
          </a:p>
        </p:txBody>
      </p:sp>
      <p:pic>
        <p:nvPicPr>
          <p:cNvPr id="12418" name="Google Shape;12418;p1163" descr="A group of people in the snow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5909" y="636929"/>
            <a:ext cx="5610091" cy="4352856"/>
          </a:xfrm>
          <a:prstGeom prst="rect">
            <a:avLst/>
          </a:prstGeom>
          <a:noFill/>
          <a:ln>
            <a:noFill/>
          </a:ln>
        </p:spPr>
      </p:pic>
      <p:sp>
        <p:nvSpPr>
          <p:cNvPr id="12419" name="Google Shape;12419;p1163"/>
          <p:cNvSpPr txBox="1"/>
          <p:nvPr/>
        </p:nvSpPr>
        <p:spPr>
          <a:xfrm>
            <a:off x="7242590" y="304800"/>
            <a:ext cx="3663246" cy="6248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lleen Duncan, RN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rin Everett, RA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unitha Suresh- Fellow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urtney Bisson- Fellow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Easha Patel- Fellow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anela Aldelija- Fellow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arah Hiemberger- MSIII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elissa Kuriloff-MS II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Victoria Oladipo- MS II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urtney Amegashie  MS II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Ngozi Nwabueze – MS I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acaria Solache- RN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Jamila Pleas, RN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elissa Benesh, FBC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Ernst Lengyel, MD</a:t>
            </a:r>
            <a:endParaRPr/>
          </a:p>
          <a:p>
            <a:pPr marL="0" marR="0" lvl="0" indent="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Natali Horab, DCAM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24" name="Google Shape;12424;p1164"/>
          <p:cNvSpPr txBox="1">
            <a:spLocks noGrp="1"/>
          </p:cNvSpPr>
          <p:nvPr>
            <p:ph type="title"/>
          </p:nvPr>
        </p:nvSpPr>
        <p:spPr>
          <a:xfrm>
            <a:off x="239843" y="282835"/>
            <a:ext cx="5839960" cy="1338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6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mmitment to quality improvement </a:t>
            </a:r>
            <a:b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</a:br>
            <a:r>
              <a:rPr lang="en-US" sz="3600" i="1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 HTN</a:t>
            </a:r>
            <a:endParaRPr/>
          </a:p>
        </p:txBody>
      </p:sp>
      <p:sp>
        <p:nvSpPr>
          <p:cNvPr id="12425" name="Google Shape;12425;p1164"/>
          <p:cNvSpPr txBox="1"/>
          <p:nvPr/>
        </p:nvSpPr>
        <p:spPr>
          <a:xfrm>
            <a:off x="479684" y="1836660"/>
            <a:ext cx="5839959" cy="4259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0" u="sng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Goals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mprove knowledge among providers and patients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ppropriate and timely management of HTN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mprove rates of PP follow up 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educed rates HTN related complications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ppropriate management of readmissions for HTN 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7F7F7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mprove long term BP control</a:t>
            </a:r>
            <a:endParaRPr/>
          </a:p>
          <a:p>
            <a:pPr marL="214302" marR="0" lvl="0" indent="-171450" algn="l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rgbClr val="7F7F7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Follow up with cardiology</a:t>
            </a:r>
            <a:endParaRPr/>
          </a:p>
        </p:txBody>
      </p:sp>
      <p:pic>
        <p:nvPicPr>
          <p:cNvPr id="12426" name="Google Shape;12426;p1164" descr="A group of people posing for the camera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25519" y="246258"/>
            <a:ext cx="4110705" cy="3083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27" name="Google Shape;12427;p1164" descr="A group of people wearing face masks&#10;&#10;Description automatically generated with medium confidenc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25519" y="3538728"/>
            <a:ext cx="4110705" cy="308302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2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2" name="Google Shape;12432;p1165"/>
          <p:cNvSpPr txBox="1">
            <a:spLocks noGrp="1"/>
          </p:cNvSpPr>
          <p:nvPr>
            <p:ph type="title"/>
          </p:nvPr>
        </p:nvSpPr>
        <p:spPr>
          <a:xfrm>
            <a:off x="649904" y="72502"/>
            <a:ext cx="8856302" cy="854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2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-HTN Clinician Buy-In and Procedures</a:t>
            </a:r>
            <a:endParaRPr sz="3200">
              <a:solidFill>
                <a:srgbClr val="8B0502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12433" name="Google Shape;12433;p1165"/>
          <p:cNvSpPr txBox="1">
            <a:spLocks noGrp="1"/>
          </p:cNvSpPr>
          <p:nvPr>
            <p:ph type="body" idx="4294967295"/>
          </p:nvPr>
        </p:nvSpPr>
        <p:spPr>
          <a:xfrm>
            <a:off x="9074378" y="383591"/>
            <a:ext cx="2439536" cy="341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US" sz="2000" u="sng">
                <a:latin typeface="Libre Franklin"/>
                <a:ea typeface="Libre Franklin"/>
                <a:cs typeface="Libre Franklin"/>
                <a:sym typeface="Libre Franklin"/>
              </a:rPr>
              <a:t>Standardize Program Protocols</a:t>
            </a:r>
            <a:endParaRPr sz="2000" u="sng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457189" lvl="0" indent="-317492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ourier New"/>
              <a:buChar char="o"/>
            </a:pPr>
            <a:r>
              <a:rPr lang="en-US" sz="2000">
                <a:latin typeface="Libre Franklin"/>
                <a:ea typeface="Libre Franklin"/>
                <a:cs typeface="Libre Franklin"/>
                <a:sym typeface="Libre Franklin"/>
              </a:rPr>
              <a:t>Management of PPHTN</a:t>
            </a:r>
            <a:endParaRPr/>
          </a:p>
          <a:p>
            <a:pPr marL="457189" lvl="0" indent="-317492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ourier New"/>
              <a:buChar char="o"/>
            </a:pPr>
            <a:r>
              <a:rPr lang="en-US" sz="2000">
                <a:latin typeface="Libre Franklin"/>
                <a:ea typeface="Libre Franklin"/>
                <a:cs typeface="Libre Franklin"/>
                <a:sym typeface="Libre Franklin"/>
              </a:rPr>
              <a:t>Readmissions</a:t>
            </a:r>
            <a:endParaRPr/>
          </a:p>
          <a:p>
            <a:pPr marL="457189" lvl="0" indent="-317492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ourier New"/>
              <a:buChar char="o"/>
            </a:pPr>
            <a:r>
              <a:rPr lang="en-US" sz="2000">
                <a:latin typeface="Libre Franklin"/>
                <a:ea typeface="Libre Franklin"/>
                <a:cs typeface="Libre Franklin"/>
                <a:sym typeface="Libre Franklin"/>
              </a:rPr>
              <a:t>ED workflow</a:t>
            </a:r>
            <a:endParaRPr/>
          </a:p>
          <a:p>
            <a:pPr marL="457189" lvl="0" indent="-317492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ourier New"/>
              <a:buChar char="o"/>
            </a:pPr>
            <a:r>
              <a:rPr lang="en-US" sz="2000">
                <a:latin typeface="Libre Franklin"/>
                <a:ea typeface="Libre Franklin"/>
                <a:cs typeface="Libre Franklin"/>
                <a:sym typeface="Libre Franklin"/>
              </a:rPr>
              <a:t>PPHTN clinics</a:t>
            </a:r>
            <a:endParaRPr sz="2000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457189" lvl="0" indent="-228592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>
                <a:srgbClr val="92288D"/>
              </a:buClr>
              <a:buSzPts val="1400"/>
              <a:buFont typeface="Open Sans"/>
              <a:buNone/>
            </a:pPr>
            <a:endParaRPr sz="2000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139697" lvl="0" indent="0" algn="l" rtl="0">
              <a:lnSpc>
                <a:spcPct val="115000"/>
              </a:lnSpc>
              <a:spcBef>
                <a:spcPts val="2000"/>
              </a:spcBef>
              <a:spcAft>
                <a:spcPts val="0"/>
              </a:spcAft>
              <a:buClr>
                <a:srgbClr val="92288D"/>
              </a:buClr>
              <a:buSzPts val="1400"/>
              <a:buNone/>
            </a:pPr>
            <a:endParaRPr sz="2000" b="1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457189" lvl="0" indent="-228592" algn="l" rtl="0">
              <a:lnSpc>
                <a:spcPct val="115000"/>
              </a:lnSpc>
              <a:spcBef>
                <a:spcPts val="2000"/>
              </a:spcBef>
              <a:spcAft>
                <a:spcPts val="1000"/>
              </a:spcAft>
              <a:buClr>
                <a:srgbClr val="92288D"/>
              </a:buClr>
              <a:buSzPts val="1400"/>
              <a:buFont typeface="Open Sans"/>
              <a:buNone/>
            </a:pPr>
            <a:endParaRPr sz="2000"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pic>
        <p:nvPicPr>
          <p:cNvPr id="12434" name="Google Shape;12434;p116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98000" y="3963755"/>
            <a:ext cx="2585222" cy="17747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35" name="Google Shape;12435;p1165" descr="A picture containing indoor, sitting, tabl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778486" y="5314279"/>
            <a:ext cx="1342714" cy="998949"/>
          </a:xfrm>
          <a:prstGeom prst="rect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12436" name="Google Shape;12436;p1165" descr="A close up of a devic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670802" y="3852054"/>
            <a:ext cx="1450398" cy="1261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37" name="Google Shape;12437;p1165" descr="A person sitting on a bed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201388" y="973499"/>
            <a:ext cx="3789223" cy="20876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38" name="Google Shape;12438;p1165" descr="A screenshot of a social media post&#10;&#10;Description automatically generated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203338" y="3332970"/>
            <a:ext cx="2220647" cy="2816107"/>
          </a:xfrm>
          <a:prstGeom prst="rect">
            <a:avLst/>
          </a:prstGeom>
          <a:noFill/>
          <a:ln>
            <a:noFill/>
          </a:ln>
        </p:spPr>
      </p:pic>
      <p:sp>
        <p:nvSpPr>
          <p:cNvPr id="12439" name="Google Shape;12439;p1165"/>
          <p:cNvSpPr txBox="1"/>
          <p:nvPr/>
        </p:nvSpPr>
        <p:spPr>
          <a:xfrm>
            <a:off x="511028" y="878870"/>
            <a:ext cx="3264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>
                <a:solidFill>
                  <a:srgbClr val="000000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BC Video</a:t>
            </a:r>
            <a:r>
              <a:rPr lang="en-US" sz="24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– Care network</a:t>
            </a:r>
            <a:endParaRPr/>
          </a:p>
        </p:txBody>
      </p:sp>
      <p:sp>
        <p:nvSpPr>
          <p:cNvPr id="12440" name="Google Shape;12440;p1165"/>
          <p:cNvSpPr txBox="1"/>
          <p:nvPr/>
        </p:nvSpPr>
        <p:spPr>
          <a:xfrm>
            <a:off x="473364" y="1818820"/>
            <a:ext cx="3090672" cy="4816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Nursing – FBC</a:t>
            </a:r>
            <a:endParaRPr/>
          </a:p>
        </p:txBody>
      </p:sp>
      <p:sp>
        <p:nvSpPr>
          <p:cNvPr id="12441" name="Google Shape;12441;p1165"/>
          <p:cNvSpPr txBox="1"/>
          <p:nvPr/>
        </p:nvSpPr>
        <p:spPr>
          <a:xfrm>
            <a:off x="786384" y="2768267"/>
            <a:ext cx="250545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Written instructions</a:t>
            </a:r>
            <a:endParaRPr/>
          </a:p>
        </p:txBody>
      </p:sp>
      <p:sp>
        <p:nvSpPr>
          <p:cNvPr id="12442" name="Google Shape;12442;p1165"/>
          <p:cNvSpPr txBox="1"/>
          <p:nvPr/>
        </p:nvSpPr>
        <p:spPr>
          <a:xfrm>
            <a:off x="831069" y="2259912"/>
            <a:ext cx="197747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Tear pad</a:t>
            </a:r>
            <a:endParaRPr/>
          </a:p>
        </p:txBody>
      </p:sp>
      <p:sp>
        <p:nvSpPr>
          <p:cNvPr id="12443" name="Google Shape;12443;p1165"/>
          <p:cNvSpPr txBox="1"/>
          <p:nvPr/>
        </p:nvSpPr>
        <p:spPr>
          <a:xfrm>
            <a:off x="786384" y="3296637"/>
            <a:ext cx="250545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Bracelets</a:t>
            </a:r>
            <a:endParaRPr/>
          </a:p>
        </p:txBody>
      </p:sp>
      <p:sp>
        <p:nvSpPr>
          <p:cNvPr id="12444" name="Google Shape;12444;p1165"/>
          <p:cNvSpPr txBox="1"/>
          <p:nvPr/>
        </p:nvSpPr>
        <p:spPr>
          <a:xfrm>
            <a:off x="831069" y="3852054"/>
            <a:ext cx="2505456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BP cuff and monitors</a:t>
            </a:r>
            <a:endParaRPr/>
          </a:p>
        </p:txBody>
      </p:sp>
      <p:sp>
        <p:nvSpPr>
          <p:cNvPr id="12445" name="Google Shape;12445;p1165"/>
          <p:cNvSpPr txBox="1"/>
          <p:nvPr/>
        </p:nvSpPr>
        <p:spPr>
          <a:xfrm>
            <a:off x="797642" y="4380424"/>
            <a:ext cx="297229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Preeclampsia discharge checklist</a:t>
            </a:r>
            <a:endParaRPr/>
          </a:p>
        </p:txBody>
      </p:sp>
      <p:sp>
        <p:nvSpPr>
          <p:cNvPr id="12446" name="Google Shape;12446;p1165"/>
          <p:cNvSpPr txBox="1"/>
          <p:nvPr/>
        </p:nvSpPr>
        <p:spPr>
          <a:xfrm>
            <a:off x="786384" y="5214400"/>
            <a:ext cx="2938117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Annual competence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3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51" name="Google Shape;12451;p1166"/>
          <p:cNvSpPr txBox="1">
            <a:spLocks noGrp="1"/>
          </p:cNvSpPr>
          <p:nvPr>
            <p:ph type="sldNum" idx="12"/>
          </p:nvPr>
        </p:nvSpPr>
        <p:spPr>
          <a:xfrm>
            <a:off x="11311128" y="6272786"/>
            <a:ext cx="6400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7</a:t>
            </a:fld>
            <a:endParaRPr/>
          </a:p>
        </p:txBody>
      </p:sp>
      <p:pic>
        <p:nvPicPr>
          <p:cNvPr id="12452" name="Google Shape;12452;p1166" descr="A screenshot of a social media pos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8181" y="247650"/>
            <a:ext cx="4426585" cy="5848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53" name="Google Shape;12453;p1166" descr="A screenshot of a cell phon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86418" y="247650"/>
            <a:ext cx="4293870" cy="58483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58" name="Google Shape;12458;p1167"/>
          <p:cNvSpPr txBox="1">
            <a:spLocks noGrp="1"/>
          </p:cNvSpPr>
          <p:nvPr>
            <p:ph type="title"/>
          </p:nvPr>
        </p:nvSpPr>
        <p:spPr>
          <a:xfrm>
            <a:off x="1918554" y="5174367"/>
            <a:ext cx="8354891" cy="9971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sp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Libre Franklin"/>
              <a:buNone/>
            </a:pPr>
            <a:r>
              <a:rPr lang="en-US" sz="3200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Education to patients</a:t>
            </a:r>
            <a:endParaRPr/>
          </a:p>
        </p:txBody>
      </p:sp>
      <p:pic>
        <p:nvPicPr>
          <p:cNvPr id="12459" name="Google Shape;12459;p1167" descr="A screenshot of a cell phon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62943" y="1016965"/>
            <a:ext cx="2088764" cy="39976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60" name="Google Shape;12460;p1167" descr="A close up of a newspaper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537870" y="1085814"/>
            <a:ext cx="3016876" cy="3102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61" name="Google Shape;12461;p1167" descr="A screenshot of a cell phon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87896" y="1085814"/>
            <a:ext cx="1888883" cy="3997637"/>
          </a:xfrm>
          <a:prstGeom prst="rect">
            <a:avLst/>
          </a:prstGeom>
          <a:noFill/>
          <a:ln>
            <a:noFill/>
          </a:ln>
        </p:spPr>
      </p:pic>
      <p:sp>
        <p:nvSpPr>
          <p:cNvPr id="12462" name="Google Shape;12462;p1167"/>
          <p:cNvSpPr txBox="1"/>
          <p:nvPr/>
        </p:nvSpPr>
        <p:spPr>
          <a:xfrm>
            <a:off x="787895" y="591278"/>
            <a:ext cx="1753827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First Trimester</a:t>
            </a:r>
            <a:endParaRPr/>
          </a:p>
        </p:txBody>
      </p:sp>
      <p:sp>
        <p:nvSpPr>
          <p:cNvPr id="12463" name="Google Shape;12463;p1167"/>
          <p:cNvSpPr txBox="1"/>
          <p:nvPr/>
        </p:nvSpPr>
        <p:spPr>
          <a:xfrm>
            <a:off x="4562943" y="516864"/>
            <a:ext cx="2088764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fter 20 weeks</a:t>
            </a:r>
            <a:endParaRPr/>
          </a:p>
        </p:txBody>
      </p:sp>
      <p:sp>
        <p:nvSpPr>
          <p:cNvPr id="12464" name="Google Shape;12464;p1167"/>
          <p:cNvSpPr txBox="1"/>
          <p:nvPr/>
        </p:nvSpPr>
        <p:spPr>
          <a:xfrm>
            <a:off x="9101867" y="516864"/>
            <a:ext cx="1888883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stpartum</a:t>
            </a:r>
            <a:endParaRPr/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69" name="Google Shape;12469;p116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132531" y="258222"/>
            <a:ext cx="7926938" cy="5944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72" name="Google Shape;11972;p1138"/>
          <p:cNvSpPr/>
          <p:nvPr/>
        </p:nvSpPr>
        <p:spPr>
          <a:xfrm>
            <a:off x="488158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1973" name="Google Shape;11973;p1138"/>
          <p:cNvSpPr/>
          <p:nvPr/>
        </p:nvSpPr>
        <p:spPr>
          <a:xfrm>
            <a:off x="6096000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1974" name="Google Shape;11974;p1138"/>
          <p:cNvSpPr/>
          <p:nvPr/>
        </p:nvSpPr>
        <p:spPr>
          <a:xfrm>
            <a:off x="9079451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grpSp>
        <p:nvGrpSpPr>
          <p:cNvPr id="11975" name="Google Shape;11975;p1138"/>
          <p:cNvGrpSpPr/>
          <p:nvPr/>
        </p:nvGrpSpPr>
        <p:grpSpPr>
          <a:xfrm>
            <a:off x="744321" y="3946704"/>
            <a:ext cx="2091515" cy="596985"/>
            <a:chOff x="0" y="-57150"/>
            <a:chExt cx="1624031" cy="463550"/>
          </a:xfrm>
        </p:grpSpPr>
        <p:sp>
          <p:nvSpPr>
            <p:cNvPr id="11976" name="Google Shape;11976;p1138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BDE4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7" name="Google Shape;11977;p113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78" name="Google Shape;11978;p1138"/>
          <p:cNvGrpSpPr/>
          <p:nvPr/>
        </p:nvGrpSpPr>
        <p:grpSpPr>
          <a:xfrm>
            <a:off x="973121" y="2044021"/>
            <a:ext cx="1633915" cy="1633915"/>
            <a:chOff x="0" y="0"/>
            <a:chExt cx="812800" cy="812800"/>
          </a:xfrm>
        </p:grpSpPr>
        <p:sp>
          <p:nvSpPr>
            <p:cNvPr id="11979" name="Google Shape;11979;p113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BDE4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0" name="Google Shape;11980;p1138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81" name="Google Shape;11981;p1138"/>
          <p:cNvGrpSpPr/>
          <p:nvPr/>
        </p:nvGrpSpPr>
        <p:grpSpPr>
          <a:xfrm>
            <a:off x="3595765" y="3736624"/>
            <a:ext cx="2259984" cy="596985"/>
            <a:chOff x="0" y="-57150"/>
            <a:chExt cx="1624031" cy="463550"/>
          </a:xfrm>
        </p:grpSpPr>
        <p:sp>
          <p:nvSpPr>
            <p:cNvPr id="11982" name="Google Shape;11982;p1138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3" name="Google Shape;11983;p113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84" name="Google Shape;11984;p1138"/>
          <p:cNvGrpSpPr/>
          <p:nvPr/>
        </p:nvGrpSpPr>
        <p:grpSpPr>
          <a:xfrm>
            <a:off x="3824566" y="1759374"/>
            <a:ext cx="1633915" cy="1633915"/>
            <a:chOff x="0" y="0"/>
            <a:chExt cx="812800" cy="812800"/>
          </a:xfrm>
        </p:grpSpPr>
        <p:sp>
          <p:nvSpPr>
            <p:cNvPr id="11985" name="Google Shape;11985;p113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6" name="Google Shape;11986;p1138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87" name="Google Shape;11987;p1138"/>
          <p:cNvGrpSpPr/>
          <p:nvPr/>
        </p:nvGrpSpPr>
        <p:grpSpPr>
          <a:xfrm>
            <a:off x="9413676" y="3736624"/>
            <a:ext cx="2290167" cy="596985"/>
            <a:chOff x="0" y="-57150"/>
            <a:chExt cx="1624031" cy="463550"/>
          </a:xfrm>
        </p:grpSpPr>
        <p:sp>
          <p:nvSpPr>
            <p:cNvPr id="11988" name="Google Shape;11988;p1138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E894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9" name="Google Shape;11989;p113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90" name="Google Shape;11990;p1138"/>
          <p:cNvGrpSpPr/>
          <p:nvPr/>
        </p:nvGrpSpPr>
        <p:grpSpPr>
          <a:xfrm>
            <a:off x="9642476" y="1759374"/>
            <a:ext cx="1633915" cy="1633915"/>
            <a:chOff x="0" y="0"/>
            <a:chExt cx="812800" cy="812800"/>
          </a:xfrm>
        </p:grpSpPr>
        <p:sp>
          <p:nvSpPr>
            <p:cNvPr id="11991" name="Google Shape;11991;p113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E894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2" name="Google Shape;11992;p1138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93" name="Google Shape;11993;p1138"/>
          <p:cNvGrpSpPr/>
          <p:nvPr/>
        </p:nvGrpSpPr>
        <p:grpSpPr>
          <a:xfrm>
            <a:off x="6440147" y="3728607"/>
            <a:ext cx="2336904" cy="945697"/>
            <a:chOff x="0" y="-57150"/>
            <a:chExt cx="1624031" cy="463550"/>
          </a:xfrm>
        </p:grpSpPr>
        <p:sp>
          <p:nvSpPr>
            <p:cNvPr id="11994" name="Google Shape;11994;p1138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819F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5" name="Google Shape;11995;p1138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996" name="Google Shape;11996;p1138"/>
          <p:cNvGrpSpPr/>
          <p:nvPr/>
        </p:nvGrpSpPr>
        <p:grpSpPr>
          <a:xfrm>
            <a:off x="6798097" y="2042558"/>
            <a:ext cx="1633915" cy="1633915"/>
            <a:chOff x="0" y="0"/>
            <a:chExt cx="812800" cy="812800"/>
          </a:xfrm>
        </p:grpSpPr>
        <p:sp>
          <p:nvSpPr>
            <p:cNvPr id="11997" name="Google Shape;11997;p113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819F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8" name="Google Shape;11998;p1138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99" name="Google Shape;11999;p1138"/>
          <p:cNvSpPr/>
          <p:nvPr/>
        </p:nvSpPr>
        <p:spPr>
          <a:xfrm>
            <a:off x="-576664" y="6548095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2" y="0"/>
                </a:lnTo>
                <a:lnTo>
                  <a:pt x="1729992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00" name="Google Shape;12000;p1138"/>
          <p:cNvSpPr/>
          <p:nvPr/>
        </p:nvSpPr>
        <p:spPr>
          <a:xfrm>
            <a:off x="1859759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01" name="Google Shape;12001;p1138"/>
          <p:cNvSpPr/>
          <p:nvPr/>
        </p:nvSpPr>
        <p:spPr>
          <a:xfrm>
            <a:off x="4641524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02" name="Google Shape;12002;p1138"/>
          <p:cNvSpPr/>
          <p:nvPr/>
        </p:nvSpPr>
        <p:spPr>
          <a:xfrm>
            <a:off x="9297723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03" name="Google Shape;12003;p1138"/>
          <p:cNvSpPr/>
          <p:nvPr/>
        </p:nvSpPr>
        <p:spPr>
          <a:xfrm>
            <a:off x="6325263" y="2071370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04" name="Google Shape;12004;p1138"/>
          <p:cNvSpPr txBox="1"/>
          <p:nvPr/>
        </p:nvSpPr>
        <p:spPr>
          <a:xfrm>
            <a:off x="817815" y="4079178"/>
            <a:ext cx="2093537" cy="337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Attendees</a:t>
            </a:r>
            <a:endParaRPr/>
          </a:p>
        </p:txBody>
      </p:sp>
      <p:sp>
        <p:nvSpPr>
          <p:cNvPr id="12005" name="Google Shape;12005;p1138"/>
          <p:cNvSpPr txBox="1"/>
          <p:nvPr/>
        </p:nvSpPr>
        <p:spPr>
          <a:xfrm>
            <a:off x="685801" y="4683312"/>
            <a:ext cx="2093537" cy="1818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Providers, Nurses, Social Workers, Patient Partners, Community Organizations, and so many more..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6" name="Google Shape;12006;p1138"/>
          <p:cNvSpPr txBox="1"/>
          <p:nvPr/>
        </p:nvSpPr>
        <p:spPr>
          <a:xfrm>
            <a:off x="3701316" y="3905390"/>
            <a:ext cx="2093537" cy="325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4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Partner Tables</a:t>
            </a:r>
            <a:endParaRPr sz="1933" b="1" i="0" u="none" strike="noStrike" cap="none">
              <a:solidFill>
                <a:srgbClr val="000000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12007" name="Google Shape;12007;p1138"/>
          <p:cNvSpPr txBox="1"/>
          <p:nvPr/>
        </p:nvSpPr>
        <p:spPr>
          <a:xfrm>
            <a:off x="3477551" y="4266200"/>
            <a:ext cx="2501245" cy="14643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700" b="0" i="0" u="none" strike="noStrike" cap="none">
              <a:solidFill>
                <a:srgbClr val="63696F"/>
              </a:solidFill>
              <a:latin typeface="Barlow Medium"/>
              <a:ea typeface="Barlow Medium"/>
              <a:cs typeface="Barlow Medium"/>
              <a:sym typeface="Barlow Medium"/>
            </a:endParaRPr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 Connections with Local Organizations, Find Resources and Build Community 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8" name="Google Shape;12008;p1138"/>
          <p:cNvSpPr txBox="1"/>
          <p:nvPr/>
        </p:nvSpPr>
        <p:spPr>
          <a:xfrm>
            <a:off x="9429854" y="3898976"/>
            <a:ext cx="2093537" cy="337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Poster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09" name="Google Shape;12009;p1138"/>
          <p:cNvSpPr txBox="1"/>
          <p:nvPr/>
        </p:nvSpPr>
        <p:spPr>
          <a:xfrm>
            <a:off x="9349381" y="4489665"/>
            <a:ext cx="2409987" cy="1505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35 OB Abstracts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13 Neonatal Abstracts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3 Patient, Family, Community Engagement Abstracts</a:t>
            </a:r>
            <a:endParaRPr/>
          </a:p>
        </p:txBody>
      </p:sp>
      <p:sp>
        <p:nvSpPr>
          <p:cNvPr id="12010" name="Google Shape;12010;p1138"/>
          <p:cNvSpPr txBox="1"/>
          <p:nvPr/>
        </p:nvSpPr>
        <p:spPr>
          <a:xfrm>
            <a:off x="6502700" y="3912742"/>
            <a:ext cx="2209774" cy="694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Annual Conference Speakers</a:t>
            </a:r>
            <a:endParaRPr/>
          </a:p>
        </p:txBody>
      </p:sp>
      <p:sp>
        <p:nvSpPr>
          <p:cNvPr id="12011" name="Google Shape;12011;p1138"/>
          <p:cNvSpPr txBox="1"/>
          <p:nvPr/>
        </p:nvSpPr>
        <p:spPr>
          <a:xfrm>
            <a:off x="6443590" y="4757878"/>
            <a:ext cx="2496251" cy="18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3 National Speakers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3 PQC Leaders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1 Community Organization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1 Doula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2 Patient Partners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700" b="0" i="0" u="none" strike="noStrike" cap="none">
              <a:solidFill>
                <a:srgbClr val="63696F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12012" name="Google Shape;12012;p1138"/>
          <p:cNvSpPr txBox="1"/>
          <p:nvPr/>
        </p:nvSpPr>
        <p:spPr>
          <a:xfrm>
            <a:off x="1232086" y="2296372"/>
            <a:ext cx="1274135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81</a:t>
            </a:r>
            <a:endParaRPr/>
          </a:p>
        </p:txBody>
      </p:sp>
      <p:sp>
        <p:nvSpPr>
          <p:cNvPr id="12013" name="Google Shape;12013;p1138"/>
          <p:cNvSpPr txBox="1"/>
          <p:nvPr/>
        </p:nvSpPr>
        <p:spPr>
          <a:xfrm>
            <a:off x="7090966" y="2280397"/>
            <a:ext cx="1026194" cy="1033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7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r>
            <a:endParaRPr sz="6134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14" name="Google Shape;12014;p1138"/>
          <p:cNvSpPr txBox="1"/>
          <p:nvPr/>
        </p:nvSpPr>
        <p:spPr>
          <a:xfrm>
            <a:off x="4227305" y="2046024"/>
            <a:ext cx="828437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8</a:t>
            </a:r>
            <a:endParaRPr/>
          </a:p>
        </p:txBody>
      </p:sp>
      <p:sp>
        <p:nvSpPr>
          <p:cNvPr id="12015" name="Google Shape;12015;p1138"/>
          <p:cNvSpPr txBox="1"/>
          <p:nvPr/>
        </p:nvSpPr>
        <p:spPr>
          <a:xfrm>
            <a:off x="9780228" y="2064747"/>
            <a:ext cx="1341646" cy="11028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~50</a:t>
            </a:r>
            <a:endParaRPr/>
          </a:p>
        </p:txBody>
      </p:sp>
      <p:sp>
        <p:nvSpPr>
          <p:cNvPr id="12016" name="Google Shape;12016;p1138"/>
          <p:cNvSpPr txBox="1"/>
          <p:nvPr/>
        </p:nvSpPr>
        <p:spPr>
          <a:xfrm>
            <a:off x="303590" y="99620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36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ILPQC 11th Annual Conference:</a:t>
            </a:r>
            <a:endParaRPr sz="36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36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Attendance by the Numbers</a:t>
            </a:r>
            <a:endParaRPr sz="36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017" name="Google Shape;12017;p1138" descr="Fireworks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773064" y="574663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18" name="Google Shape;12018;p1138" descr="Fireworks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050875" y="574663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19" name="Google Shape;12019;p1138" descr="Fireworks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5796951" y="757687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4" name="Google Shape;12474;p1169"/>
          <p:cNvSpPr txBox="1">
            <a:spLocks noGrp="1"/>
          </p:cNvSpPr>
          <p:nvPr>
            <p:ph type="title"/>
          </p:nvPr>
        </p:nvSpPr>
        <p:spPr>
          <a:xfrm>
            <a:off x="1078993" y="1244184"/>
            <a:ext cx="9436608" cy="3717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4400"/>
              <a:buFont typeface="Libre Franklin"/>
              <a:buNone/>
            </a:pPr>
            <a:r>
              <a:rPr lang="en-US" sz="44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 HTN bundle led to a significant </a:t>
            </a:r>
            <a:r>
              <a:rPr lang="en-US" sz="4400" u="sng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eduction</a:t>
            </a:r>
            <a:r>
              <a:rPr lang="en-US" sz="44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of PP BP’s and </a:t>
            </a:r>
            <a:r>
              <a:rPr lang="en-US" sz="4400" u="sng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mproved</a:t>
            </a:r>
            <a:r>
              <a:rPr lang="en-US" sz="44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PP follow-up</a:t>
            </a:r>
            <a:br>
              <a:rPr lang="en-US" sz="44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</a:br>
            <a:br>
              <a:rPr lang="en-US" sz="44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</a:br>
            <a:endParaRPr sz="4400">
              <a:solidFill>
                <a:srgbClr val="8B0502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9" name="Google Shape;12479;p19"/>
          <p:cNvSpPr txBox="1">
            <a:spLocks noGrp="1"/>
          </p:cNvSpPr>
          <p:nvPr>
            <p:ph type="title"/>
          </p:nvPr>
        </p:nvSpPr>
        <p:spPr>
          <a:xfrm>
            <a:off x="1797600" y="126668"/>
            <a:ext cx="8596800" cy="593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atient Demographics</a:t>
            </a:r>
            <a:endParaRPr sz="3600">
              <a:solidFill>
                <a:srgbClr val="8B0502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graphicFrame>
        <p:nvGraphicFramePr>
          <p:cNvPr id="12480" name="Google Shape;12480;p19"/>
          <p:cNvGraphicFramePr/>
          <p:nvPr/>
        </p:nvGraphicFramePr>
        <p:xfrm>
          <a:off x="929390" y="720665"/>
          <a:ext cx="9638025" cy="5604050"/>
        </p:xfrm>
        <a:graphic>
          <a:graphicData uri="http://schemas.openxmlformats.org/drawingml/2006/table">
            <a:tbl>
              <a:tblPr firstRow="1" firstCol="1" bandRow="1">
                <a:noFill/>
                <a:tableStyleId>{0C3910E3-FE60-403B-803A-D4D95C852511}</a:tableStyleId>
              </a:tblPr>
              <a:tblGrid>
                <a:gridCol w="4897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40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69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Libre Franklin"/>
                        <a:buNone/>
                      </a:pPr>
                      <a:r>
                        <a:rPr lang="en-US" sz="14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 </a:t>
                      </a:r>
                      <a:endParaRPr sz="14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Libre Franklin"/>
                        <a:buNone/>
                      </a:pPr>
                      <a:r>
                        <a:rPr lang="en-US" sz="14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Entire Cohort </a:t>
                      </a:r>
                      <a:endParaRPr sz="14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00"/>
                        <a:buFont typeface="Libre Franklin"/>
                        <a:buNone/>
                      </a:pPr>
                      <a:r>
                        <a:rPr lang="en-US" sz="1400" u="none" strike="noStrike" cap="none">
                          <a:solidFill>
                            <a:schemeClr val="lt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N = 926</a:t>
                      </a:r>
                      <a:r>
                        <a:rPr lang="en-US" sz="14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 </a:t>
                      </a:r>
                      <a:endParaRPr sz="14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Maternal Age, years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28 (24, 33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Nulliparous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485 (52.38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BMI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33.8 (27.5, 41.02)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Medicaid Insurance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609 (65.77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Race</a:t>
                      </a:r>
                      <a:endParaRPr sz="160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 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Black/African American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740 (79.91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White 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121 (13.07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8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Gestational Age, weeks </a:t>
                      </a:r>
                      <a:endParaRPr sz="160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38.43 (37.00, 39.43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Diagnosis</a:t>
                      </a:r>
                      <a:endParaRPr sz="160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25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Preeclampsia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367 (39.89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25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Gestational Hypertension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338 (36.74)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725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Superimposed Preeclampsia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101 (10.98)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725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Chronic Hypertension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114 (12.39)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8575" marR="38575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Mode of Delivery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 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Cesarean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314 (33.91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1905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Vaginal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574 (61.99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35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b="0" u="none" strike="noStrike" cap="none">
                          <a:solidFill>
                            <a:schemeClr val="dk1"/>
                          </a:solidFill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Total Length of Stay (Days)</a:t>
                      </a:r>
                      <a:endParaRPr sz="1600" b="0" u="none" strike="noStrike" cap="none">
                        <a:solidFill>
                          <a:schemeClr val="dk1"/>
                        </a:solidFill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Libre Franklin"/>
                        <a:buNone/>
                      </a:pPr>
                      <a:r>
                        <a:rPr lang="en-US" sz="16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4 (3, 4) </a:t>
                      </a:r>
                      <a:endParaRPr sz="16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17750">
                <a:tc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400"/>
                        <a:buFont typeface="Libre Franklin"/>
                        <a:buNone/>
                      </a:pPr>
                      <a:r>
                        <a:rPr lang="en-US" sz="1400" u="none" strike="noStrike" cap="none">
                          <a:latin typeface="Libre Franklin"/>
                          <a:ea typeface="Libre Franklin"/>
                          <a:cs typeface="Libre Franklin"/>
                          <a:sym typeface="Libre Franklin"/>
                        </a:rPr>
                        <a:t>Data is presented as n (%) or median (quartile 1, quartile 3) depending on variable type.</a:t>
                      </a:r>
                      <a:endParaRPr sz="1400" u="none" strike="noStrike" cap="none">
                        <a:latin typeface="Libre Franklin"/>
                        <a:ea typeface="Libre Franklin"/>
                        <a:cs typeface="Libre Franklin"/>
                        <a:sym typeface="Libre Franklin"/>
                      </a:endParaRPr>
                    </a:p>
                  </a:txBody>
                  <a:tcPr marL="37225" marR="37225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12481" name="Google Shape;12481;p19"/>
          <p:cNvSpPr/>
          <p:nvPr/>
        </p:nvSpPr>
        <p:spPr>
          <a:xfrm>
            <a:off x="7324428" y="1278243"/>
            <a:ext cx="1909791" cy="980391"/>
          </a:xfrm>
          <a:prstGeom prst="rect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82" name="Google Shape;12482;p19"/>
          <p:cNvSpPr/>
          <p:nvPr/>
        </p:nvSpPr>
        <p:spPr>
          <a:xfrm>
            <a:off x="7429359" y="2591312"/>
            <a:ext cx="1909791" cy="263662"/>
          </a:xfrm>
          <a:prstGeom prst="rect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83" name="Google Shape;12483;p19"/>
          <p:cNvSpPr/>
          <p:nvPr/>
        </p:nvSpPr>
        <p:spPr>
          <a:xfrm>
            <a:off x="7429359" y="3636444"/>
            <a:ext cx="1909791" cy="526726"/>
          </a:xfrm>
          <a:prstGeom prst="rect">
            <a:avLst/>
          </a:prstGeom>
          <a:noFill/>
          <a:ln w="381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8" name="Google Shape;12488;p1170"/>
          <p:cNvSpPr txBox="1">
            <a:spLocks noGrp="1"/>
          </p:cNvSpPr>
          <p:nvPr>
            <p:ph type="title"/>
          </p:nvPr>
        </p:nvSpPr>
        <p:spPr>
          <a:xfrm>
            <a:off x="2135777" y="146424"/>
            <a:ext cx="8596800" cy="734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 fontScale="90000"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ecrease in Postpartum Blood Pressure</a:t>
            </a:r>
            <a:endParaRPr/>
          </a:p>
        </p:txBody>
      </p:sp>
      <p:sp>
        <p:nvSpPr>
          <p:cNvPr id="12489" name="Google Shape;12489;p1170"/>
          <p:cNvSpPr txBox="1"/>
          <p:nvPr/>
        </p:nvSpPr>
        <p:spPr>
          <a:xfrm>
            <a:off x="2557847" y="5892157"/>
            <a:ext cx="749837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EP-DEC 2018.        JAN-JUN 2019         JUL-SEP 2019       OCT-NOV 2019</a:t>
            </a:r>
            <a:endParaRPr/>
          </a:p>
        </p:txBody>
      </p:sp>
      <p:graphicFrame>
        <p:nvGraphicFramePr>
          <p:cNvPr id="12490" name="Google Shape;12490;p1170"/>
          <p:cNvGraphicFramePr/>
          <p:nvPr/>
        </p:nvGraphicFramePr>
        <p:xfrm>
          <a:off x="2557847" y="881302"/>
          <a:ext cx="7498376" cy="49860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491" name="Google Shape;12491;p1170"/>
          <p:cNvSpPr txBox="1"/>
          <p:nvPr/>
        </p:nvSpPr>
        <p:spPr>
          <a:xfrm>
            <a:off x="6738408" y="2791763"/>
            <a:ext cx="2970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&gt;140/90 within 24 hrs PP</a:t>
            </a:r>
            <a:endParaRPr/>
          </a:p>
        </p:txBody>
      </p:sp>
      <p:sp>
        <p:nvSpPr>
          <p:cNvPr id="12492" name="Google Shape;12492;p1170"/>
          <p:cNvSpPr txBox="1"/>
          <p:nvPr/>
        </p:nvSpPr>
        <p:spPr>
          <a:xfrm>
            <a:off x="4179931" y="3417507"/>
            <a:ext cx="2970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&gt;140/90 at first PPHTN visit</a:t>
            </a:r>
            <a:endParaRPr/>
          </a:p>
        </p:txBody>
      </p:sp>
      <p:sp>
        <p:nvSpPr>
          <p:cNvPr id="12493" name="Google Shape;12493;p1170"/>
          <p:cNvSpPr txBox="1"/>
          <p:nvPr/>
        </p:nvSpPr>
        <p:spPr>
          <a:xfrm>
            <a:off x="3976459" y="4043252"/>
            <a:ext cx="29704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rgbClr val="C00000"/>
                </a:solidFill>
                <a:latin typeface="Arial"/>
                <a:ea typeface="Arial"/>
                <a:cs typeface="Arial"/>
                <a:sym typeface="Arial"/>
              </a:rPr>
              <a:t>&gt;160/110 prior to d/c</a:t>
            </a:r>
            <a:endParaRPr/>
          </a:p>
        </p:txBody>
      </p:sp>
      <p:sp>
        <p:nvSpPr>
          <p:cNvPr id="12494" name="Google Shape;12494;p1170"/>
          <p:cNvSpPr txBox="1"/>
          <p:nvPr/>
        </p:nvSpPr>
        <p:spPr>
          <a:xfrm>
            <a:off x="4549693" y="4594924"/>
            <a:ext cx="29704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424200"/>
                </a:solidFill>
                <a:latin typeface="Arial"/>
                <a:ea typeface="Arial"/>
                <a:cs typeface="Arial"/>
                <a:sym typeface="Arial"/>
              </a:rPr>
              <a:t>&gt;140/90 at 6-week visit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0" name="Google Shape;12500;p12"/>
          <p:cNvGraphicFramePr/>
          <p:nvPr/>
        </p:nvGraphicFramePr>
        <p:xfrm>
          <a:off x="1676400" y="381000"/>
          <a:ext cx="8839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501" name="Google Shape;12501;p12"/>
          <p:cNvSpPr txBox="1"/>
          <p:nvPr/>
        </p:nvSpPr>
        <p:spPr>
          <a:xfrm>
            <a:off x="5607571" y="5638800"/>
            <a:ext cx="6172200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ana S et al</a:t>
            </a: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. Postpartum Outcomes with Systematic Treatment And Management of Postpartum Hypertension (STAMPP HTN). Obstet Gynecol. 2021 Nov 1;138(5):777-787. </a:t>
            </a:r>
            <a:endParaRPr/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07" name="Google Shape;12507;p1171" descr="A comparison of a child's playground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14489" y="685628"/>
            <a:ext cx="8963025" cy="510892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13" name="Google Shape;12513;p1172"/>
          <p:cNvGrpSpPr/>
          <p:nvPr/>
        </p:nvGrpSpPr>
        <p:grpSpPr>
          <a:xfrm>
            <a:off x="1657515" y="472613"/>
            <a:ext cx="9052166" cy="5115790"/>
            <a:chOff x="0" y="0"/>
            <a:chExt cx="7424420" cy="5659755"/>
          </a:xfrm>
        </p:grpSpPr>
        <p:graphicFrame>
          <p:nvGraphicFramePr>
            <p:cNvPr id="12514" name="Google Shape;12514;p1172"/>
            <p:cNvGraphicFramePr/>
            <p:nvPr/>
          </p:nvGraphicFramePr>
          <p:xfrm>
            <a:off x="0" y="0"/>
            <a:ext cx="7424420" cy="5659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2515" name="Google Shape;12515;p1172"/>
            <p:cNvSpPr txBox="1"/>
            <p:nvPr/>
          </p:nvSpPr>
          <p:spPr>
            <a:xfrm>
              <a:off x="1589761" y="276213"/>
              <a:ext cx="1840585" cy="5994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5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RE TELEHEALTH PERIOD </a:t>
              </a:r>
              <a:br>
                <a:rPr lang="en-US" sz="135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</a:br>
              <a:r>
                <a:rPr lang="en-US" sz="135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(DEC 2019 – FEB 2020)</a:t>
              </a:r>
              <a:endParaRPr sz="135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5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 </a:t>
              </a:r>
              <a:endParaRPr sz="135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16" name="Google Shape;12516;p1172"/>
            <p:cNvSpPr txBox="1"/>
            <p:nvPr/>
          </p:nvSpPr>
          <p:spPr>
            <a:xfrm>
              <a:off x="435379" y="1079634"/>
              <a:ext cx="1520713" cy="6705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5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BASELINE*</a:t>
              </a:r>
              <a:endParaRPr sz="135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5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(SEP – DEC 2018)</a:t>
              </a:r>
              <a:endParaRPr sz="135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35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 </a:t>
              </a:r>
              <a:endParaRPr sz="135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17" name="Google Shape;12517;p1172"/>
            <p:cNvSpPr txBox="1"/>
            <p:nvPr/>
          </p:nvSpPr>
          <p:spPr>
            <a:xfrm>
              <a:off x="4754023" y="2199958"/>
              <a:ext cx="1686560" cy="6299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50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OST TELEHEALTH PERIOD </a:t>
              </a:r>
              <a:br>
                <a:rPr lang="en-US" sz="150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</a:br>
              <a:r>
                <a:rPr lang="en-US" sz="150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(MAR 15 - JUN 2020)</a:t>
              </a:r>
              <a:endParaRPr sz="15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500" b="1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 </a:t>
              </a:r>
              <a:endParaRPr sz="15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</p:grpSp>
      <p:sp>
        <p:nvSpPr>
          <p:cNvPr id="12518" name="Google Shape;12518;p1172"/>
          <p:cNvSpPr/>
          <p:nvPr/>
        </p:nvSpPr>
        <p:spPr>
          <a:xfrm>
            <a:off x="4313859" y="1625772"/>
            <a:ext cx="475488" cy="1346759"/>
          </a:xfrm>
          <a:prstGeom prst="ellipse">
            <a:avLst/>
          </a:prstGeom>
          <a:solidFill>
            <a:srgbClr val="FDE2E1">
              <a:alpha val="37647"/>
            </a:srgbClr>
          </a:solidFill>
          <a:ln w="25400" cap="flat" cmpd="sng">
            <a:solidFill>
              <a:srgbClr val="5D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12519" name="Google Shape;12519;p1172"/>
          <p:cNvSpPr/>
          <p:nvPr/>
        </p:nvSpPr>
        <p:spPr>
          <a:xfrm>
            <a:off x="8351370" y="1301361"/>
            <a:ext cx="475488" cy="561213"/>
          </a:xfrm>
          <a:prstGeom prst="ellipse">
            <a:avLst/>
          </a:prstGeom>
          <a:solidFill>
            <a:srgbClr val="FDE2E1">
              <a:alpha val="37647"/>
            </a:srgbClr>
          </a:solidFill>
          <a:ln w="25400" cap="flat" cmpd="sng">
            <a:solidFill>
              <a:srgbClr val="5D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12520" name="Google Shape;12520;p1172"/>
          <p:cNvSpPr txBox="1"/>
          <p:nvPr/>
        </p:nvSpPr>
        <p:spPr>
          <a:xfrm>
            <a:off x="1565150" y="2942082"/>
            <a:ext cx="184731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00000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12521" name="Google Shape;12521;p1172"/>
          <p:cNvSpPr txBox="1"/>
          <p:nvPr/>
        </p:nvSpPr>
        <p:spPr>
          <a:xfrm>
            <a:off x="5295660" y="5838069"/>
            <a:ext cx="6586907" cy="923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ana S et al. </a:t>
            </a:r>
            <a:r>
              <a:rPr lang="en-US" sz="1400" b="0" i="0" u="none" strike="noStrike" cap="none">
                <a:solidFill>
                  <a:srgbClr val="72725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Elimination of Racial Disparities in Postpartum Hypertension Follow-Up After Incorporation of Telehealth into a Quality Bundle. Am J Obstet Gynecol MFM. 2022. </a:t>
            </a:r>
            <a:endParaRPr/>
          </a:p>
        </p:txBody>
      </p:sp>
      <p:sp>
        <p:nvSpPr>
          <p:cNvPr id="12522" name="Google Shape;12522;p1172"/>
          <p:cNvSpPr/>
          <p:nvPr/>
        </p:nvSpPr>
        <p:spPr>
          <a:xfrm>
            <a:off x="2743686" y="2394133"/>
            <a:ext cx="475488" cy="1346759"/>
          </a:xfrm>
          <a:prstGeom prst="ellipse">
            <a:avLst/>
          </a:prstGeom>
          <a:solidFill>
            <a:srgbClr val="FDE2E1">
              <a:alpha val="37647"/>
            </a:srgbClr>
          </a:solidFill>
          <a:ln w="25400" cap="flat" cmpd="sng">
            <a:solidFill>
              <a:srgbClr val="5D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27" name="Google Shape;12527;p14"/>
          <p:cNvSpPr txBox="1">
            <a:spLocks noGrp="1"/>
          </p:cNvSpPr>
          <p:nvPr>
            <p:ph type="title"/>
          </p:nvPr>
        </p:nvSpPr>
        <p:spPr>
          <a:xfrm>
            <a:off x="1332421" y="350522"/>
            <a:ext cx="85968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4D85"/>
              </a:buClr>
              <a:buSzPts val="32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-HTN: Deploying Remote Patient Monitoring</a:t>
            </a:r>
            <a:endParaRPr sz="3600">
              <a:solidFill>
                <a:srgbClr val="8B0502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12528" name="Google Shape;12528;p14"/>
          <p:cNvSpPr txBox="1">
            <a:spLocks noGrp="1"/>
          </p:cNvSpPr>
          <p:nvPr>
            <p:ph type="body" idx="4294967295"/>
          </p:nvPr>
        </p:nvSpPr>
        <p:spPr>
          <a:xfrm>
            <a:off x="428127" y="1799778"/>
            <a:ext cx="5912711" cy="38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r>
              <a:rPr lang="en-US" sz="2800" b="1">
                <a:latin typeface="Libre Franklin"/>
                <a:ea typeface="Libre Franklin"/>
                <a:cs typeface="Libre Franklin"/>
                <a:sym typeface="Libre Franklin"/>
              </a:rPr>
              <a:t>UCM OB/GYN Department</a:t>
            </a:r>
            <a:endParaRPr/>
          </a:p>
          <a:p>
            <a:pPr marL="0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r>
              <a:rPr lang="en-US">
                <a:latin typeface="Libre Franklin"/>
                <a:ea typeface="Libre Franklin"/>
                <a:cs typeface="Libre Franklin"/>
                <a:sym typeface="Libre Franklin"/>
              </a:rPr>
              <a:t>	</a:t>
            </a: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Dr. Rana and Team</a:t>
            </a:r>
            <a:endParaRPr/>
          </a:p>
          <a:p>
            <a:pPr marL="0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</a:pPr>
            <a:r>
              <a:rPr lang="en-US" sz="2800" b="1">
                <a:latin typeface="Libre Franklin"/>
                <a:ea typeface="Libre Franklin"/>
                <a:cs typeface="Libre Franklin"/>
                <a:sym typeface="Libre Franklin"/>
              </a:rPr>
              <a:t>UCM Department of Digital Health</a:t>
            </a:r>
            <a:endParaRPr sz="2800" b="1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139697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rgbClr val="92288D"/>
              </a:buClr>
              <a:buSzPts val="1400"/>
              <a:buNone/>
            </a:pPr>
            <a:r>
              <a:rPr lang="en-US">
                <a:latin typeface="Libre Franklin"/>
                <a:ea typeface="Libre Franklin"/>
                <a:cs typeface="Libre Franklin"/>
                <a:sym typeface="Libre Franklin"/>
              </a:rPr>
              <a:t>	</a:t>
            </a: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Brady Watts, Manager </a:t>
            </a:r>
            <a:endParaRPr/>
          </a:p>
          <a:p>
            <a:pPr marL="139697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rgbClr val="92288D"/>
              </a:buClr>
              <a:buSzPts val="1400"/>
              <a:buNone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	Graeme Ossey, Program Director</a:t>
            </a:r>
            <a:endParaRPr/>
          </a:p>
          <a:p>
            <a:pPr marL="139697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rgbClr val="92288D"/>
              </a:buClr>
              <a:buSzPts val="1400"/>
              <a:buNone/>
            </a:pPr>
            <a:r>
              <a:rPr lang="en-US" sz="2400">
                <a:latin typeface="Libre Franklin"/>
                <a:ea typeface="Libre Franklin"/>
                <a:cs typeface="Libre Franklin"/>
                <a:sym typeface="Libre Franklin"/>
              </a:rPr>
              <a:t>	Brianna Brooks, Manager </a:t>
            </a:r>
            <a:endParaRPr sz="2400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0" lvl="0" indent="0" algn="l" rtl="0">
              <a:lnSpc>
                <a:spcPct val="134000"/>
              </a:lnSpc>
              <a:spcBef>
                <a:spcPts val="0"/>
              </a:spcBef>
              <a:spcAft>
                <a:spcPts val="0"/>
              </a:spcAft>
              <a:buClr>
                <a:srgbClr val="92288D"/>
              </a:buClr>
              <a:buSzPts val="1400"/>
              <a:buNone/>
            </a:pPr>
            <a:r>
              <a:rPr lang="en-US" sz="2800" b="1">
                <a:latin typeface="Libre Franklin"/>
                <a:ea typeface="Libre Franklin"/>
                <a:cs typeface="Libre Franklin"/>
                <a:sym typeface="Libre Franklin"/>
              </a:rPr>
              <a:t>Vendor: Health Recovery Solutions</a:t>
            </a:r>
            <a:endParaRPr/>
          </a:p>
          <a:p>
            <a:pPr marL="0" lvl="0" indent="0" algn="l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SzPts val="1800"/>
              <a:buNone/>
            </a:pPr>
            <a:endParaRPr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pic>
        <p:nvPicPr>
          <p:cNvPr id="12529" name="Google Shape;12529;p14" descr="A picture containing indoo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7535540" y="847622"/>
            <a:ext cx="3798217" cy="28486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30" name="Google Shape;12530;p14" descr="A cake with flowers on it&#10;&#10;Description automatically generated with low confidenc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535540" y="3854255"/>
            <a:ext cx="3798216" cy="2854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2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35" name="Google Shape;12535;p1173" descr="Graphical user interface, text, applicatio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4048" y="43739"/>
            <a:ext cx="5147361" cy="67962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36" name="Google Shape;12536;p1173"/>
          <p:cNvPicPr preferRelativeResize="0"/>
          <p:nvPr/>
        </p:nvPicPr>
        <p:blipFill rotWithShape="1">
          <a:blip r:embed="rId4">
            <a:alphaModFix/>
          </a:blip>
          <a:srcRect l="-1484" r="-248"/>
          <a:stretch/>
        </p:blipFill>
        <p:spPr>
          <a:xfrm>
            <a:off x="5979677" y="159657"/>
            <a:ext cx="5307915" cy="6680335"/>
          </a:xfrm>
          <a:prstGeom prst="rect">
            <a:avLst/>
          </a:prstGeom>
          <a:noFill/>
          <a:ln>
            <a:noFill/>
          </a:ln>
        </p:spPr>
      </p:pic>
      <p:sp>
        <p:nvSpPr>
          <p:cNvPr id="12537" name="Google Shape;12537;p1173"/>
          <p:cNvSpPr txBox="1"/>
          <p:nvPr/>
        </p:nvSpPr>
        <p:spPr>
          <a:xfrm>
            <a:off x="235813" y="2274838"/>
            <a:ext cx="11720374" cy="2308324"/>
          </a:xfrm>
          <a:prstGeom prst="rect">
            <a:avLst/>
          </a:prstGeom>
          <a:solidFill>
            <a:srgbClr val="8B0502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patient gets a Bluetooth BP monitor and downloads an APP on her phone to be enrolled in  the program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Linked through EPIC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rest of the components of the STAMPP program have no change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Every patient discharged from UCM with HDP is enrolled in this program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rted enrolling in RPM- July 26</a:t>
            </a:r>
            <a:r>
              <a:rPr lang="en-US" sz="2400" b="0" i="0" u="none" strike="noStrike" cap="none" baseline="30000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</a:t>
            </a: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2021 </a:t>
            </a:r>
            <a:endParaRPr sz="240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42" name="Google Shape;12542;p1174" descr="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60372" y="434715"/>
            <a:ext cx="11017522" cy="517160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48" name="Google Shape;12548;p1175"/>
          <p:cNvSpPr txBox="1">
            <a:spLocks noGrp="1"/>
          </p:cNvSpPr>
          <p:nvPr>
            <p:ph type="sldNum" idx="12"/>
          </p:nvPr>
        </p:nvSpPr>
        <p:spPr>
          <a:xfrm>
            <a:off x="11311128" y="6272786"/>
            <a:ext cx="6400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000000"/>
                </a:solidFill>
              </a:rPr>
              <a:t>49</a:t>
            </a:fld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12549" name="Google Shape;12549;p1175"/>
          <p:cNvGraphicFramePr/>
          <p:nvPr/>
        </p:nvGraphicFramePr>
        <p:xfrm>
          <a:off x="1283344" y="352179"/>
          <a:ext cx="8724002" cy="5358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550" name="Google Shape;12550;p1175"/>
          <p:cNvSpPr/>
          <p:nvPr/>
        </p:nvSpPr>
        <p:spPr>
          <a:xfrm>
            <a:off x="2524723" y="2195164"/>
            <a:ext cx="822960" cy="2011680"/>
          </a:xfrm>
          <a:prstGeom prst="ellipse">
            <a:avLst/>
          </a:prstGeom>
          <a:solidFill>
            <a:srgbClr val="F6DCE8">
              <a:alpha val="40000"/>
            </a:srgbClr>
          </a:solidFill>
          <a:ln w="12700" cap="flat" cmpd="sng">
            <a:solidFill>
              <a:srgbClr val="36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51" name="Google Shape;12551;p1175"/>
          <p:cNvSpPr/>
          <p:nvPr/>
        </p:nvSpPr>
        <p:spPr>
          <a:xfrm>
            <a:off x="4439955" y="1388610"/>
            <a:ext cx="822960" cy="1839919"/>
          </a:xfrm>
          <a:prstGeom prst="ellipse">
            <a:avLst/>
          </a:prstGeom>
          <a:solidFill>
            <a:srgbClr val="FFFFD5">
              <a:alpha val="40000"/>
            </a:srgbClr>
          </a:solidFill>
          <a:ln w="12700" cap="flat" cmpd="sng">
            <a:solidFill>
              <a:srgbClr val="36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52" name="Google Shape;12552;p1175"/>
          <p:cNvSpPr/>
          <p:nvPr/>
        </p:nvSpPr>
        <p:spPr>
          <a:xfrm>
            <a:off x="6473718" y="1096643"/>
            <a:ext cx="731520" cy="1280160"/>
          </a:xfrm>
          <a:prstGeom prst="ellipse">
            <a:avLst/>
          </a:prstGeom>
          <a:solidFill>
            <a:srgbClr val="B0FF63">
              <a:alpha val="40000"/>
            </a:srgbClr>
          </a:solidFill>
          <a:ln w="12700" cap="flat" cmpd="sng">
            <a:solidFill>
              <a:srgbClr val="36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53" name="Google Shape;12553;p1175"/>
          <p:cNvSpPr/>
          <p:nvPr/>
        </p:nvSpPr>
        <p:spPr>
          <a:xfrm>
            <a:off x="8470079" y="889758"/>
            <a:ext cx="731520" cy="1280160"/>
          </a:xfrm>
          <a:prstGeom prst="ellipse">
            <a:avLst/>
          </a:prstGeom>
          <a:solidFill>
            <a:srgbClr val="00B9FE">
              <a:alpha val="40000"/>
            </a:srgbClr>
          </a:solidFill>
          <a:ln w="12700" cap="flat" cmpd="sng">
            <a:solidFill>
              <a:srgbClr val="36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54" name="Google Shape;12554;p1175"/>
          <p:cNvSpPr txBox="1"/>
          <p:nvPr/>
        </p:nvSpPr>
        <p:spPr>
          <a:xfrm>
            <a:off x="7717274" y="5531231"/>
            <a:ext cx="4152900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Baseline</a:t>
            </a:r>
            <a:r>
              <a:rPr lang="en-US" sz="16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 September- December 2018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</a:t>
            </a:r>
            <a:r>
              <a:rPr lang="en-US" sz="16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 October-November 2019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 Telehealth </a:t>
            </a:r>
            <a:r>
              <a:rPr lang="en-US" sz="16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 March – June 2020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- RPM </a:t>
            </a:r>
            <a:r>
              <a:rPr lang="en-US" sz="16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- October 2021- April 2022</a:t>
            </a:r>
            <a:endParaRPr/>
          </a:p>
        </p:txBody>
      </p:sp>
      <p:sp>
        <p:nvSpPr>
          <p:cNvPr id="12555" name="Google Shape;12555;p1175"/>
          <p:cNvSpPr/>
          <p:nvPr/>
        </p:nvSpPr>
        <p:spPr>
          <a:xfrm>
            <a:off x="143347" y="2040915"/>
            <a:ext cx="11853749" cy="1569660"/>
          </a:xfrm>
          <a:prstGeom prst="rect">
            <a:avLst/>
          </a:prstGeom>
          <a:solidFill>
            <a:srgbClr val="3A5F5B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STAMPP RPM program led to an overall improvement in rates of postpartum BP follow from 30% to 81.3% among black women and eliminated the disparity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rgbClr val="FFFFF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5" name="Google Shape;12025;p1139"/>
          <p:cNvSpPr/>
          <p:nvPr/>
        </p:nvSpPr>
        <p:spPr>
          <a:xfrm>
            <a:off x="488158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026" name="Google Shape;12026;p1139"/>
          <p:cNvSpPr/>
          <p:nvPr/>
        </p:nvSpPr>
        <p:spPr>
          <a:xfrm>
            <a:off x="6096000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027" name="Google Shape;12027;p1139"/>
          <p:cNvSpPr/>
          <p:nvPr/>
        </p:nvSpPr>
        <p:spPr>
          <a:xfrm>
            <a:off x="3471609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028" name="Google Shape;12028;p1139"/>
          <p:cNvSpPr/>
          <p:nvPr/>
        </p:nvSpPr>
        <p:spPr>
          <a:xfrm>
            <a:off x="9079451" y="1429223"/>
            <a:ext cx="2556295" cy="2541917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grpSp>
        <p:nvGrpSpPr>
          <p:cNvPr id="12029" name="Google Shape;12029;p1139"/>
          <p:cNvGrpSpPr/>
          <p:nvPr/>
        </p:nvGrpSpPr>
        <p:grpSpPr>
          <a:xfrm>
            <a:off x="830585" y="3802931"/>
            <a:ext cx="2091515" cy="596985"/>
            <a:chOff x="0" y="-57150"/>
            <a:chExt cx="1624031" cy="463550"/>
          </a:xfrm>
        </p:grpSpPr>
        <p:sp>
          <p:nvSpPr>
            <p:cNvPr id="12030" name="Google Shape;12030;p1139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EEF9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1" name="Google Shape;12031;p1139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32" name="Google Shape;12032;p1139"/>
          <p:cNvGrpSpPr/>
          <p:nvPr/>
        </p:nvGrpSpPr>
        <p:grpSpPr>
          <a:xfrm>
            <a:off x="3595765" y="3736624"/>
            <a:ext cx="2259984" cy="596985"/>
            <a:chOff x="0" y="-57150"/>
            <a:chExt cx="1624031" cy="463550"/>
          </a:xfrm>
        </p:grpSpPr>
        <p:sp>
          <p:nvSpPr>
            <p:cNvPr id="12033" name="Google Shape;12033;p1139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4" name="Google Shape;12034;p1139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35" name="Google Shape;12035;p1139"/>
          <p:cNvGrpSpPr/>
          <p:nvPr/>
        </p:nvGrpSpPr>
        <p:grpSpPr>
          <a:xfrm>
            <a:off x="3824566" y="1759374"/>
            <a:ext cx="1633915" cy="1633915"/>
            <a:chOff x="0" y="0"/>
            <a:chExt cx="812800" cy="812800"/>
          </a:xfrm>
        </p:grpSpPr>
        <p:sp>
          <p:nvSpPr>
            <p:cNvPr id="12036" name="Google Shape;12036;p113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7" name="Google Shape;12037;p113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38" name="Google Shape;12038;p1139"/>
          <p:cNvGrpSpPr/>
          <p:nvPr/>
        </p:nvGrpSpPr>
        <p:grpSpPr>
          <a:xfrm>
            <a:off x="9599343" y="1500581"/>
            <a:ext cx="1518897" cy="1475765"/>
            <a:chOff x="0" y="0"/>
            <a:chExt cx="812800" cy="812800"/>
          </a:xfrm>
        </p:grpSpPr>
        <p:sp>
          <p:nvSpPr>
            <p:cNvPr id="12039" name="Google Shape;12039;p113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0" name="Google Shape;12040;p113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41" name="Google Shape;12041;p1139"/>
          <p:cNvGrpSpPr/>
          <p:nvPr/>
        </p:nvGrpSpPr>
        <p:grpSpPr>
          <a:xfrm>
            <a:off x="6440147" y="3728607"/>
            <a:ext cx="2336904" cy="600641"/>
            <a:chOff x="0" y="-57150"/>
            <a:chExt cx="1624031" cy="463550"/>
          </a:xfrm>
        </p:grpSpPr>
        <p:sp>
          <p:nvSpPr>
            <p:cNvPr id="12042" name="Google Shape;12042;p1139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9A1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3" name="Google Shape;12043;p1139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044" name="Google Shape;12044;p1139"/>
          <p:cNvGrpSpPr/>
          <p:nvPr/>
        </p:nvGrpSpPr>
        <p:grpSpPr>
          <a:xfrm>
            <a:off x="6855606" y="1985049"/>
            <a:ext cx="1633915" cy="1633915"/>
            <a:chOff x="0" y="0"/>
            <a:chExt cx="812800" cy="812800"/>
          </a:xfrm>
        </p:grpSpPr>
        <p:sp>
          <p:nvSpPr>
            <p:cNvPr id="12045" name="Google Shape;12045;p113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9A1B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6" name="Google Shape;12046;p113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47" name="Google Shape;12047;p1139"/>
          <p:cNvSpPr/>
          <p:nvPr/>
        </p:nvSpPr>
        <p:spPr>
          <a:xfrm>
            <a:off x="1859759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48" name="Google Shape;12048;p1139"/>
          <p:cNvSpPr/>
          <p:nvPr/>
        </p:nvSpPr>
        <p:spPr>
          <a:xfrm>
            <a:off x="4641524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49" name="Google Shape;12049;p1139"/>
          <p:cNvSpPr/>
          <p:nvPr/>
        </p:nvSpPr>
        <p:spPr>
          <a:xfrm>
            <a:off x="8765761" y="2515294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50" name="Google Shape;12050;p1139"/>
          <p:cNvSpPr/>
          <p:nvPr/>
        </p:nvSpPr>
        <p:spPr>
          <a:xfrm>
            <a:off x="6397150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051" name="Google Shape;12051;p1139"/>
          <p:cNvSpPr txBox="1"/>
          <p:nvPr/>
        </p:nvSpPr>
        <p:spPr>
          <a:xfrm>
            <a:off x="760306" y="3935404"/>
            <a:ext cx="2093537" cy="337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Data Champions</a:t>
            </a:r>
            <a:endParaRPr/>
          </a:p>
        </p:txBody>
      </p:sp>
      <p:sp>
        <p:nvSpPr>
          <p:cNvPr id="12052" name="Google Shape;12052;p1139"/>
          <p:cNvSpPr txBox="1"/>
          <p:nvPr/>
        </p:nvSpPr>
        <p:spPr>
          <a:xfrm>
            <a:off x="887084" y="4438897"/>
            <a:ext cx="2093537" cy="889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Across both PVB and BE initiatives </a:t>
            </a:r>
            <a:endParaRPr sz="1400" b="0" i="0" u="none" strike="noStrike" cap="none">
              <a:solidFill>
                <a:srgbClr val="444C5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700" b="0" i="0" u="none" strike="noStrike" cap="none">
              <a:solidFill>
                <a:srgbClr val="63696F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12053" name="Google Shape;12053;p1139"/>
          <p:cNvSpPr txBox="1"/>
          <p:nvPr/>
        </p:nvSpPr>
        <p:spPr>
          <a:xfrm>
            <a:off x="3701316" y="3905390"/>
            <a:ext cx="2093537" cy="325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42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PVB QI Excellence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4" name="Google Shape;12054;p1139"/>
          <p:cNvSpPr txBox="1"/>
          <p:nvPr/>
        </p:nvSpPr>
        <p:spPr>
          <a:xfrm>
            <a:off x="3535061" y="4438729"/>
            <a:ext cx="2386227" cy="889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Plus 24 Past QI Excellence Award Winners </a:t>
            </a:r>
            <a:endParaRPr/>
          </a:p>
        </p:txBody>
      </p:sp>
      <p:sp>
        <p:nvSpPr>
          <p:cNvPr id="12055" name="Google Shape;12055;p1139"/>
          <p:cNvSpPr txBox="1"/>
          <p:nvPr/>
        </p:nvSpPr>
        <p:spPr>
          <a:xfrm>
            <a:off x="9257325" y="3065089"/>
            <a:ext cx="2352329" cy="70681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Patient Partner Recogni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6" name="Google Shape;12056;p1139"/>
          <p:cNvSpPr txBox="1"/>
          <p:nvPr/>
        </p:nvSpPr>
        <p:spPr>
          <a:xfrm>
            <a:off x="6502700" y="3898365"/>
            <a:ext cx="2209774" cy="335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731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0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BE QI Excellence</a:t>
            </a:r>
            <a:endParaRPr/>
          </a:p>
        </p:txBody>
      </p:sp>
      <p:sp>
        <p:nvSpPr>
          <p:cNvPr id="12057" name="Google Shape;12057;p1139"/>
          <p:cNvSpPr txBox="1"/>
          <p:nvPr/>
        </p:nvSpPr>
        <p:spPr>
          <a:xfrm>
            <a:off x="6414836" y="4441576"/>
            <a:ext cx="2496251" cy="889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Additional 7 teams near BE QI Excellence</a:t>
            </a:r>
            <a:endParaRPr/>
          </a:p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700" b="0" i="0" u="none" strike="noStrike" cap="none">
              <a:solidFill>
                <a:srgbClr val="63696F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12058" name="Google Shape;12058;p1139"/>
          <p:cNvSpPr txBox="1"/>
          <p:nvPr/>
        </p:nvSpPr>
        <p:spPr>
          <a:xfrm>
            <a:off x="7090966" y="2294775"/>
            <a:ext cx="1026194" cy="1033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7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r>
            <a:endParaRPr sz="6134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9" name="Google Shape;12059;p1139"/>
          <p:cNvSpPr txBox="1"/>
          <p:nvPr/>
        </p:nvSpPr>
        <p:spPr>
          <a:xfrm>
            <a:off x="4227305" y="2046024"/>
            <a:ext cx="828437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4</a:t>
            </a:r>
            <a:endParaRPr/>
          </a:p>
        </p:txBody>
      </p:sp>
      <p:sp>
        <p:nvSpPr>
          <p:cNvPr id="12060" name="Google Shape;12060;p1139"/>
          <p:cNvSpPr txBox="1"/>
          <p:nvPr/>
        </p:nvSpPr>
        <p:spPr>
          <a:xfrm>
            <a:off x="9736259" y="1665193"/>
            <a:ext cx="1230690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8</a:t>
            </a:r>
            <a:endParaRPr/>
          </a:p>
        </p:txBody>
      </p:sp>
      <p:sp>
        <p:nvSpPr>
          <p:cNvPr id="12061" name="Google Shape;12061;p1139"/>
          <p:cNvSpPr txBox="1"/>
          <p:nvPr/>
        </p:nvSpPr>
        <p:spPr>
          <a:xfrm>
            <a:off x="303590" y="99620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36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ILPQC 11th Annual Conference: </a:t>
            </a:r>
            <a:endParaRPr sz="36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36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Awards by the Numbers</a:t>
            </a:r>
            <a:endParaRPr sz="36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2062" name="Google Shape;12062;p1139"/>
          <p:cNvGrpSpPr/>
          <p:nvPr/>
        </p:nvGrpSpPr>
        <p:grpSpPr>
          <a:xfrm>
            <a:off x="9613721" y="4045373"/>
            <a:ext cx="1504519" cy="1619538"/>
            <a:chOff x="64369" y="7152"/>
            <a:chExt cx="748431" cy="805648"/>
          </a:xfrm>
        </p:grpSpPr>
        <p:sp>
          <p:nvSpPr>
            <p:cNvPr id="12063" name="Google Shape;12063;p1139"/>
            <p:cNvSpPr/>
            <p:nvPr/>
          </p:nvSpPr>
          <p:spPr>
            <a:xfrm>
              <a:off x="64369" y="7152"/>
              <a:ext cx="748431" cy="805648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9B3A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64" name="Google Shape;12064;p113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65" name="Google Shape;12065;p1139"/>
          <p:cNvSpPr txBox="1"/>
          <p:nvPr/>
        </p:nvSpPr>
        <p:spPr>
          <a:xfrm>
            <a:off x="9736258" y="4325003"/>
            <a:ext cx="1230690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</a:t>
            </a:r>
            <a:endParaRPr/>
          </a:p>
        </p:txBody>
      </p:sp>
      <p:sp>
        <p:nvSpPr>
          <p:cNvPr id="12066" name="Google Shape;12066;p1139"/>
          <p:cNvSpPr txBox="1"/>
          <p:nvPr/>
        </p:nvSpPr>
        <p:spPr>
          <a:xfrm>
            <a:off x="9442431" y="3361241"/>
            <a:ext cx="1275711" cy="8429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3850" tIns="33850" rIns="33850" bIns="33850" anchor="ctr" anchorCtr="0">
            <a:noAutofit/>
          </a:bodyPr>
          <a:lstStyle/>
          <a:p>
            <a:pPr marL="0" marR="0" lvl="0" indent="0" algn="ctr" rtl="0">
              <a:lnSpc>
                <a:spcPct val="279875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>
              <a:solidFill>
                <a:srgbClr val="444C5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67" name="Google Shape;12067;p1139"/>
          <p:cNvSpPr txBox="1"/>
          <p:nvPr/>
        </p:nvSpPr>
        <p:spPr>
          <a:xfrm>
            <a:off x="9257325" y="5796787"/>
            <a:ext cx="2352329" cy="692434"/>
          </a:xfrm>
          <a:prstGeom prst="rect">
            <a:avLst/>
          </a:prstGeom>
          <a:solidFill>
            <a:srgbClr val="F9B3A1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BE RC Breakfast Recognition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8" name="Google Shape;12068;p1139"/>
          <p:cNvSpPr/>
          <p:nvPr/>
        </p:nvSpPr>
        <p:spPr>
          <a:xfrm>
            <a:off x="10476666" y="4096803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grpSp>
        <p:nvGrpSpPr>
          <p:cNvPr id="12069" name="Google Shape;12069;p1139"/>
          <p:cNvGrpSpPr/>
          <p:nvPr/>
        </p:nvGrpSpPr>
        <p:grpSpPr>
          <a:xfrm>
            <a:off x="1049735" y="1975034"/>
            <a:ext cx="1633915" cy="1633915"/>
            <a:chOff x="0" y="0"/>
            <a:chExt cx="812800" cy="812800"/>
          </a:xfrm>
        </p:grpSpPr>
        <p:sp>
          <p:nvSpPr>
            <p:cNvPr id="12070" name="Google Shape;12070;p113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EEF98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1" name="Google Shape;12071;p1139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72" name="Google Shape;12072;p1139"/>
          <p:cNvSpPr txBox="1"/>
          <p:nvPr/>
        </p:nvSpPr>
        <p:spPr>
          <a:xfrm>
            <a:off x="1232086" y="2281994"/>
            <a:ext cx="1274135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16</a:t>
            </a:r>
            <a:endParaRPr/>
          </a:p>
        </p:txBody>
      </p:sp>
      <p:pic>
        <p:nvPicPr>
          <p:cNvPr id="12073" name="Google Shape;12073;p1139" descr="Firework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336875" y="757687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74" name="Google Shape;12074;p1139" descr="Firework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89781" y="5487838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75" name="Google Shape;12075;p1139" descr="Firework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090913" y="5789762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0" name="Google Shape;12560;p1176"/>
          <p:cNvSpPr txBox="1"/>
          <p:nvPr/>
        </p:nvSpPr>
        <p:spPr>
          <a:xfrm>
            <a:off x="1139934" y="5586886"/>
            <a:ext cx="10249424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0" i="0" u="none" strike="noStrike" cap="none">
                <a:solidFill>
                  <a:srgbClr val="7F7F7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urvey responses collected from RPM portal for 306 patients into the RPM program and consented for the study from October 2021 to April 2022</a:t>
            </a:r>
            <a:endParaRPr/>
          </a:p>
        </p:txBody>
      </p:sp>
      <p:sp>
        <p:nvSpPr>
          <p:cNvPr id="12561" name="Google Shape;12561;p1176"/>
          <p:cNvSpPr txBox="1"/>
          <p:nvPr/>
        </p:nvSpPr>
        <p:spPr>
          <a:xfrm>
            <a:off x="1440305" y="329888"/>
            <a:ext cx="8056178" cy="590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i="0" u="none" strike="noStrike" cap="none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atient Perceptions Regarding RPM</a:t>
            </a:r>
            <a:endParaRPr/>
          </a:p>
        </p:txBody>
      </p:sp>
      <p:sp>
        <p:nvSpPr>
          <p:cNvPr id="12562" name="Google Shape;12562;p1176"/>
          <p:cNvSpPr txBox="1"/>
          <p:nvPr/>
        </p:nvSpPr>
        <p:spPr>
          <a:xfrm>
            <a:off x="1161828" y="2751974"/>
            <a:ext cx="1032611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91%</a:t>
            </a:r>
            <a:endParaRPr/>
          </a:p>
        </p:txBody>
      </p:sp>
      <p:sp>
        <p:nvSpPr>
          <p:cNvPr id="12563" name="Google Shape;12563;p1176"/>
          <p:cNvSpPr txBox="1"/>
          <p:nvPr/>
        </p:nvSpPr>
        <p:spPr>
          <a:xfrm>
            <a:off x="1144363" y="4021949"/>
            <a:ext cx="1032611" cy="3924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91%</a:t>
            </a:r>
            <a:endParaRPr/>
          </a:p>
        </p:txBody>
      </p:sp>
      <p:grpSp>
        <p:nvGrpSpPr>
          <p:cNvPr id="12564" name="Google Shape;12564;p1176"/>
          <p:cNvGrpSpPr/>
          <p:nvPr/>
        </p:nvGrpSpPr>
        <p:grpSpPr>
          <a:xfrm>
            <a:off x="1144363" y="1212372"/>
            <a:ext cx="7970992" cy="723867"/>
            <a:chOff x="1144363" y="1212372"/>
            <a:chExt cx="7970992" cy="723867"/>
          </a:xfrm>
        </p:grpSpPr>
        <p:sp>
          <p:nvSpPr>
            <p:cNvPr id="12565" name="Google Shape;12565;p1176"/>
            <p:cNvSpPr/>
            <p:nvPr/>
          </p:nvSpPr>
          <p:spPr>
            <a:xfrm>
              <a:off x="1144363" y="1212372"/>
              <a:ext cx="754523" cy="723867"/>
            </a:xfrm>
            <a:prstGeom prst="ellipse">
              <a:avLst/>
            </a:prstGeom>
            <a:gradFill>
              <a:gsLst>
                <a:gs pos="0">
                  <a:srgbClr val="8E4747"/>
                </a:gs>
                <a:gs pos="50000">
                  <a:srgbClr val="860000"/>
                </a:gs>
                <a:gs pos="100000">
                  <a:srgbClr val="7B0000"/>
                </a:gs>
              </a:gsLst>
              <a:lin ang="5400000" scaled="0"/>
            </a:gra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66" name="Google Shape;12566;p1176"/>
            <p:cNvSpPr txBox="1"/>
            <p:nvPr/>
          </p:nvSpPr>
          <p:spPr>
            <a:xfrm>
              <a:off x="2023829" y="1269885"/>
              <a:ext cx="7091526" cy="646331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atients reported that they were “definitely able” or “somewhat able” to improve their blood pressure management with use of RPM </a:t>
              </a:r>
              <a:endParaRPr/>
            </a:p>
          </p:txBody>
        </p:sp>
        <p:sp>
          <p:nvSpPr>
            <p:cNvPr id="12567" name="Google Shape;12567;p1176"/>
            <p:cNvSpPr txBox="1"/>
            <p:nvPr/>
          </p:nvSpPr>
          <p:spPr>
            <a:xfrm>
              <a:off x="1235351" y="1408385"/>
              <a:ext cx="788478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FFFFFF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86%</a:t>
              </a:r>
              <a:endParaRPr/>
            </a:p>
          </p:txBody>
        </p:sp>
      </p:grpSp>
      <p:grpSp>
        <p:nvGrpSpPr>
          <p:cNvPr id="12568" name="Google Shape;12568;p1176"/>
          <p:cNvGrpSpPr/>
          <p:nvPr/>
        </p:nvGrpSpPr>
        <p:grpSpPr>
          <a:xfrm>
            <a:off x="1171217" y="2287621"/>
            <a:ext cx="7944140" cy="722376"/>
            <a:chOff x="1171217" y="2287621"/>
            <a:chExt cx="7944140" cy="722376"/>
          </a:xfrm>
        </p:grpSpPr>
        <p:sp>
          <p:nvSpPr>
            <p:cNvPr id="12569" name="Google Shape;12569;p1176"/>
            <p:cNvSpPr txBox="1"/>
            <p:nvPr/>
          </p:nvSpPr>
          <p:spPr>
            <a:xfrm>
              <a:off x="2023829" y="2308960"/>
              <a:ext cx="7091528" cy="646331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atients reported they were “very” or “somewhat” likely to attend their postpartum follow-up visit </a:t>
              </a:r>
              <a:endParaRPr/>
            </a:p>
          </p:txBody>
        </p:sp>
        <p:sp>
          <p:nvSpPr>
            <p:cNvPr id="12570" name="Google Shape;12570;p1176"/>
            <p:cNvSpPr/>
            <p:nvPr/>
          </p:nvSpPr>
          <p:spPr>
            <a:xfrm>
              <a:off x="1171217" y="2287621"/>
              <a:ext cx="758952" cy="722376"/>
            </a:xfrm>
            <a:prstGeom prst="ellipse">
              <a:avLst/>
            </a:prstGeom>
            <a:solidFill>
              <a:srgbClr val="7030A0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71" name="Google Shape;12571;p1176"/>
            <p:cNvSpPr txBox="1"/>
            <p:nvPr/>
          </p:nvSpPr>
          <p:spPr>
            <a:xfrm>
              <a:off x="1257399" y="2477223"/>
              <a:ext cx="766430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FFFFFF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91%</a:t>
              </a:r>
              <a:endParaRPr/>
            </a:p>
          </p:txBody>
        </p:sp>
      </p:grpSp>
      <p:grpSp>
        <p:nvGrpSpPr>
          <p:cNvPr id="12572" name="Google Shape;12572;p1176"/>
          <p:cNvGrpSpPr/>
          <p:nvPr/>
        </p:nvGrpSpPr>
        <p:grpSpPr>
          <a:xfrm>
            <a:off x="1139934" y="3260680"/>
            <a:ext cx="7981795" cy="923330"/>
            <a:chOff x="1139934" y="3260680"/>
            <a:chExt cx="7981795" cy="923330"/>
          </a:xfrm>
        </p:grpSpPr>
        <p:sp>
          <p:nvSpPr>
            <p:cNvPr id="12573" name="Google Shape;12573;p1176"/>
            <p:cNvSpPr txBox="1"/>
            <p:nvPr/>
          </p:nvSpPr>
          <p:spPr>
            <a:xfrm>
              <a:off x="2023829" y="3260680"/>
              <a:ext cx="7097900" cy="923330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atients reported that were “definitely” or “somewhat” likely to recommend the RPM program to other postpartum mothers with hypertensive disorders </a:t>
              </a:r>
              <a:endParaRPr/>
            </a:p>
          </p:txBody>
        </p:sp>
        <p:sp>
          <p:nvSpPr>
            <p:cNvPr id="12574" name="Google Shape;12574;p1176"/>
            <p:cNvSpPr/>
            <p:nvPr/>
          </p:nvSpPr>
          <p:spPr>
            <a:xfrm>
              <a:off x="1139934" y="3456138"/>
              <a:ext cx="758952" cy="722376"/>
            </a:xfrm>
            <a:prstGeom prst="ellipse">
              <a:avLst/>
            </a:prstGeom>
            <a:gradFill>
              <a:gsLst>
                <a:gs pos="0">
                  <a:srgbClr val="8E4747"/>
                </a:gs>
                <a:gs pos="50000">
                  <a:srgbClr val="860000"/>
                </a:gs>
                <a:gs pos="100000">
                  <a:srgbClr val="7B0000"/>
                </a:gs>
              </a:gsLst>
              <a:lin ang="5400000" scaled="0"/>
            </a:gra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75" name="Google Shape;12575;p1176"/>
            <p:cNvSpPr txBox="1"/>
            <p:nvPr/>
          </p:nvSpPr>
          <p:spPr>
            <a:xfrm>
              <a:off x="1226686" y="3613578"/>
              <a:ext cx="659212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FFFFFF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84%</a:t>
              </a:r>
              <a:endParaRPr/>
            </a:p>
          </p:txBody>
        </p:sp>
      </p:grpSp>
      <p:grpSp>
        <p:nvGrpSpPr>
          <p:cNvPr id="12576" name="Google Shape;12576;p1176"/>
          <p:cNvGrpSpPr/>
          <p:nvPr/>
        </p:nvGrpSpPr>
        <p:grpSpPr>
          <a:xfrm>
            <a:off x="1187392" y="4450343"/>
            <a:ext cx="7934337" cy="923330"/>
            <a:chOff x="1187392" y="4450343"/>
            <a:chExt cx="7934337" cy="923330"/>
          </a:xfrm>
        </p:grpSpPr>
        <p:sp>
          <p:nvSpPr>
            <p:cNvPr id="12577" name="Google Shape;12577;p1176"/>
            <p:cNvSpPr txBox="1"/>
            <p:nvPr/>
          </p:nvSpPr>
          <p:spPr>
            <a:xfrm>
              <a:off x="2030203" y="4450343"/>
              <a:ext cx="7091526" cy="923330"/>
            </a:xfrm>
            <a:prstGeom prst="rect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000000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Patients reported they were “much more” or “somewhat more” aware of their own health after use of the RPM program at six weeks postpartum </a:t>
              </a:r>
              <a:endParaRPr/>
            </a:p>
          </p:txBody>
        </p:sp>
        <p:sp>
          <p:nvSpPr>
            <p:cNvPr id="12578" name="Google Shape;12578;p1176"/>
            <p:cNvSpPr/>
            <p:nvPr/>
          </p:nvSpPr>
          <p:spPr>
            <a:xfrm>
              <a:off x="1187392" y="4517816"/>
              <a:ext cx="758952" cy="722376"/>
            </a:xfrm>
            <a:prstGeom prst="ellipse">
              <a:avLst/>
            </a:prstGeom>
            <a:solidFill>
              <a:srgbClr val="7030A0"/>
            </a:solidFill>
            <a:ln w="9525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endParaRPr>
            </a:p>
          </p:txBody>
        </p:sp>
        <p:sp>
          <p:nvSpPr>
            <p:cNvPr id="12579" name="Google Shape;12579;p1176"/>
            <p:cNvSpPr txBox="1"/>
            <p:nvPr/>
          </p:nvSpPr>
          <p:spPr>
            <a:xfrm>
              <a:off x="1258263" y="4694338"/>
              <a:ext cx="758952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0" i="0" u="none" strike="noStrike" cap="none">
                  <a:solidFill>
                    <a:srgbClr val="FFFFFF"/>
                  </a:solidFill>
                  <a:latin typeface="Libre Franklin"/>
                  <a:ea typeface="Libre Franklin"/>
                  <a:cs typeface="Libre Franklin"/>
                  <a:sym typeface="Libre Franklin"/>
                </a:rPr>
                <a:t>91%</a:t>
              </a:r>
              <a:endParaRPr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84" name="Google Shape;12584;p1177"/>
          <p:cNvSpPr txBox="1"/>
          <p:nvPr/>
        </p:nvSpPr>
        <p:spPr>
          <a:xfrm>
            <a:off x="4467239" y="1162978"/>
            <a:ext cx="7534801" cy="50167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eceived </a:t>
            </a:r>
            <a:r>
              <a:rPr lang="en-US" sz="2000" b="0" i="1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LPQC award of Excellence </a:t>
            </a: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(2019)</a:t>
            </a:r>
            <a:endParaRPr sz="2000" b="0" i="1" u="none" strike="noStrike" cap="none">
              <a:solidFill>
                <a:srgbClr val="00000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</a:t>
            </a: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</a:t>
            </a: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STAMPP-HTN Program was selected for </a:t>
            </a:r>
            <a:r>
              <a:rPr lang="en-US" sz="2000" b="0" i="1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hase I  and II of the Hypertension Innovator Award</a:t>
            </a: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Competition by the U.S. Department of Health and Human Services (“HHS”),  Office on Women’s Health (2021, 2022)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program was selected for "</a:t>
            </a:r>
            <a:r>
              <a:rPr lang="en-US" sz="2000" b="0" i="1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Magnet story as Magnet Exemplar</a:t>
            </a: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” for American Nurses Credentialing Center (ANCC) for 2022 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r. Rana received the </a:t>
            </a:r>
            <a:r>
              <a:rPr lang="en-US" sz="2000" b="0" i="1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istinguished Leader in Program Innovation</a:t>
            </a:r>
            <a:r>
              <a:rPr lang="en-US" sz="2000" b="0" i="1" u="none" strike="noStrike" cap="none">
                <a:solidFill>
                  <a:srgbClr val="C55A11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</a:t>
            </a: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University of Chicago Biological Sciences Division (2022)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merican Hospital Association </a:t>
            </a:r>
            <a:r>
              <a:rPr lang="en-US" sz="1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“citation of merit” and equitable</a:t>
            </a: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 maternal health practices- Review case example. 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LPQC 2023- </a:t>
            </a:r>
            <a:r>
              <a:rPr lang="en-US" sz="20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bstract of Excellence Award, Implementation Plan Excellence Award, Data Excellence Award    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r. Rana has given several </a:t>
            </a:r>
            <a:r>
              <a:rPr lang="en-US" sz="2000" b="0" i="1" u="none" strike="noStrike" cap="none">
                <a:solidFill>
                  <a:srgbClr val="C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webinars and invited talks</a:t>
            </a:r>
            <a:endParaRPr/>
          </a:p>
          <a:p>
            <a:pPr marL="214313" marR="0" lvl="0" indent="-21431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1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esulted in 20 abstracts and 5 papers (others pending)</a:t>
            </a:r>
            <a:endParaRPr/>
          </a:p>
        </p:txBody>
      </p:sp>
      <p:sp>
        <p:nvSpPr>
          <p:cNvPr id="12585" name="Google Shape;12585;p1177"/>
          <p:cNvSpPr txBox="1">
            <a:spLocks noGrp="1"/>
          </p:cNvSpPr>
          <p:nvPr>
            <p:ph type="title"/>
          </p:nvPr>
        </p:nvSpPr>
        <p:spPr>
          <a:xfrm>
            <a:off x="1844040" y="310526"/>
            <a:ext cx="8503920" cy="5631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36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ward and Accolades</a:t>
            </a:r>
            <a:endParaRPr/>
          </a:p>
        </p:txBody>
      </p:sp>
      <p:pic>
        <p:nvPicPr>
          <p:cNvPr id="12586" name="Google Shape;12586;p1177" descr="A group of people holding paper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10800000">
            <a:off x="11063" y="1783080"/>
            <a:ext cx="4200144" cy="315010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8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1" name="Google Shape;12591;p1178"/>
          <p:cNvSpPr txBox="1">
            <a:spLocks noGrp="1"/>
          </p:cNvSpPr>
          <p:nvPr>
            <p:ph type="title"/>
          </p:nvPr>
        </p:nvSpPr>
        <p:spPr>
          <a:xfrm>
            <a:off x="1844040" y="224852"/>
            <a:ext cx="8503920" cy="914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36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PM Expansion beyond UCM in collaboration with HRS</a:t>
            </a:r>
            <a:endParaRPr/>
          </a:p>
        </p:txBody>
      </p:sp>
      <p:sp>
        <p:nvSpPr>
          <p:cNvPr id="12592" name="Google Shape;12592;p1178"/>
          <p:cNvSpPr txBox="1"/>
          <p:nvPr/>
        </p:nvSpPr>
        <p:spPr>
          <a:xfrm>
            <a:off x="579518" y="1628507"/>
            <a:ext cx="10163331" cy="4247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University of Mississippi- STAMPP (started Dec 2020)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WJ Barnabas – New Jersey- the program is live and expanding to more practices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Novant – North Carolina- the program is live and expanding to more practices in the Charlotte market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Avera – North and South Dakota- just went live and is enrolling patients at 2 practices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atholic Health – Upstate NY- live with PP HYT and Gestational Diabetes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University of Michigan Health West – going live soon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entura Health – Colorado – initial discussion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7" name="Google Shape;12597;p1179"/>
          <p:cNvSpPr txBox="1">
            <a:spLocks noGrp="1"/>
          </p:cNvSpPr>
          <p:nvPr>
            <p:ph type="title"/>
          </p:nvPr>
        </p:nvSpPr>
        <p:spPr>
          <a:xfrm>
            <a:off x="1710019" y="231099"/>
            <a:ext cx="850392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B0502"/>
              </a:buClr>
              <a:buSzPts val="3600"/>
              <a:buFont typeface="Libre Franklin"/>
              <a:buNone/>
            </a:pPr>
            <a:r>
              <a:rPr lang="en-US" sz="3600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e future vision for STAMPP-RPM</a:t>
            </a:r>
            <a:endParaRPr/>
          </a:p>
        </p:txBody>
      </p:sp>
      <p:sp>
        <p:nvSpPr>
          <p:cNvPr id="12598" name="Google Shape;12598;p1179"/>
          <p:cNvSpPr txBox="1">
            <a:spLocks noGrp="1"/>
          </p:cNvSpPr>
          <p:nvPr>
            <p:ph type="body" idx="1"/>
          </p:nvPr>
        </p:nvSpPr>
        <p:spPr>
          <a:xfrm>
            <a:off x="554635" y="1295399"/>
            <a:ext cx="10493115" cy="4850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/>
          <a:p>
            <a:pPr marL="349250" lvl="0" indent="-34131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Invited to Phase III of the HHS Hypertension Innovator award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Incorporating CHWs (Linc program) to improve adherence beyond PPHTN appointment 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Extending STAMPP </a:t>
            </a:r>
            <a:endParaRPr dirty="0"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During pregnancy for high-risk pregnant women</a:t>
            </a:r>
            <a:endParaRPr dirty="0"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400"/>
              <a:buChar char="»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Beyond six weeks by collaborating with primary care RPM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Conducting behavioral interviews with patients and CHWs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Plan for extending to interested hospitals in IL (provides process to sustain Birth Equity work around pp safety)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Continue to expand to other healthcare systems nationally</a:t>
            </a:r>
            <a:endParaRPr dirty="0"/>
          </a:p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Char char="•"/>
            </a:pPr>
            <a:r>
              <a:rPr lang="en-US" sz="2400" dirty="0">
                <a:latin typeface="Libre Franklin"/>
                <a:ea typeface="Libre Franklin"/>
                <a:cs typeface="Libre Franklin"/>
                <a:sym typeface="Libre Franklin"/>
              </a:rPr>
              <a:t>Include in good clinical practice through CDC and ACOG</a:t>
            </a:r>
            <a:endParaRPr dirty="0"/>
          </a:p>
          <a:p>
            <a:pPr marL="349250" lvl="0" indent="-1889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</a:pPr>
            <a:endParaRPr sz="2400" dirty="0"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349250" lvl="0" indent="-1889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</a:pPr>
            <a:endParaRPr sz="2400" dirty="0"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4" name="Google Shape;12604;p1180"/>
          <p:cNvSpPr txBox="1"/>
          <p:nvPr/>
        </p:nvSpPr>
        <p:spPr>
          <a:xfrm>
            <a:off x="262333" y="364264"/>
            <a:ext cx="11335307" cy="58862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i="0" u="none" strike="noStrike" cap="none">
                <a:solidFill>
                  <a:srgbClr val="A20605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Funding through the years 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rgbClr val="00000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Department of Obstetrics and Gynecology at the University of Chicago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University of Chicago Women’s Board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hicago Lying-in Board of Directors at the University of Chicago 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Preeclampsia Foundation</a:t>
            </a:r>
            <a:endParaRPr/>
          </a:p>
          <a:p>
            <a: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✔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Hypertension Innovator Award Competition by the U.S. Department of Health and Human Services (“HHS”),  Office on Women’s Health (2021, 2022)</a:t>
            </a:r>
            <a:endParaRPr/>
          </a:p>
          <a:p>
            <a:pPr marL="285750" marR="0" lvl="0" indent="-133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None/>
            </a:pPr>
            <a:endParaRPr sz="2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urrently funded through the UCM health equity initiatives through IT Strategic Programs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rgbClr val="00000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It is cost-free to the patient and is the standard of care our institution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On average, we enroll 70-90 patients per month</a:t>
            </a:r>
            <a:endParaRPr/>
          </a:p>
          <a:p>
            <a:pPr marL="342900" marR="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Noto Sans Symbols"/>
              <a:buChar char="⮚"/>
            </a:pPr>
            <a:r>
              <a:rPr lang="en-US" sz="2400" b="0" i="0" u="none" strike="noStrike" cap="none">
                <a:solidFill>
                  <a:srgbClr val="00000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otal patients enrolled in STAMPP-HTN program ~ 5000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0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9" name="Google Shape;12609;p1181"/>
          <p:cNvSpPr txBox="1">
            <a:spLocks noGrp="1"/>
          </p:cNvSpPr>
          <p:nvPr>
            <p:ph type="body" idx="1"/>
          </p:nvPr>
        </p:nvSpPr>
        <p:spPr>
          <a:xfrm>
            <a:off x="0" y="378627"/>
            <a:ext cx="7863841" cy="2353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9250" lvl="0" indent="-341313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Font typeface="Courier New"/>
              <a:buChar char="o"/>
            </a:pPr>
            <a:r>
              <a:rPr lang="en-US" sz="2000"/>
              <a:t>For creating STAMPP-HTN at your hospital: reach out to UCM STAMPP team </a:t>
            </a:r>
            <a:endParaRPr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Char char="o"/>
            </a:pPr>
            <a:r>
              <a:rPr lang="en-US" sz="2000"/>
              <a:t>Dr. Sarosh Rana : </a:t>
            </a:r>
            <a:r>
              <a:rPr lang="en-US" sz="2000" u="sng">
                <a:solidFill>
                  <a:schemeClr val="hlink"/>
                </a:solidFill>
                <a:hlinkClick r:id="rId3"/>
              </a:rPr>
              <a:t>srana@bsd.uchicago.edu</a:t>
            </a:r>
            <a:endParaRPr sz="2000"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Char char="o"/>
            </a:pPr>
            <a:r>
              <a:rPr lang="en-US" sz="2000"/>
              <a:t>Arin Everett: </a:t>
            </a:r>
            <a:r>
              <a:rPr lang="en-US" sz="2000" u="sng">
                <a:solidFill>
                  <a:schemeClr val="hlink"/>
                </a:solidFill>
                <a:hlinkClick r:id="rId4"/>
              </a:rPr>
              <a:t>aseverett@bsd.uchicago.edu</a:t>
            </a:r>
            <a:endParaRPr sz="2000"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Char char="o"/>
            </a:pPr>
            <a:r>
              <a:rPr lang="en-US" sz="2000"/>
              <a:t>Dr. Sanela Andelija: </a:t>
            </a:r>
            <a:r>
              <a:rPr lang="en-US" sz="2000" u="sng">
                <a:solidFill>
                  <a:schemeClr val="hlink"/>
                </a:solidFill>
                <a:hlinkClick r:id="rId5"/>
              </a:rPr>
              <a:t>Sanela.Andelija@uchicagomedicine.org</a:t>
            </a:r>
            <a:endParaRPr sz="2000"/>
          </a:p>
          <a:p>
            <a:pPr marL="690563" lvl="1" indent="-349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Char char="o"/>
            </a:pPr>
            <a:r>
              <a:rPr lang="en-US" sz="2000"/>
              <a:t>Colleen Duncan: </a:t>
            </a:r>
            <a:r>
              <a:rPr lang="en-US" sz="2000" u="sng">
                <a:solidFill>
                  <a:schemeClr val="hlink"/>
                </a:solidFill>
                <a:hlinkClick r:id="rId6"/>
              </a:rPr>
              <a:t>cduncan@bsd.uchicago.edu</a:t>
            </a:r>
            <a:endParaRPr sz="2000"/>
          </a:p>
          <a:p>
            <a:pPr marL="690563" lvl="1" indent="-222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None/>
            </a:pPr>
            <a:endParaRPr sz="2000"/>
          </a:p>
          <a:p>
            <a:pPr marL="690563" lvl="1" indent="-22225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Font typeface="Courier New"/>
              <a:buNone/>
            </a:pPr>
            <a:endParaRPr sz="2000"/>
          </a:p>
          <a:p>
            <a:pPr marL="341313" lvl="1" indent="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</a:pPr>
            <a:endParaRPr sz="2000"/>
          </a:p>
        </p:txBody>
      </p:sp>
      <p:pic>
        <p:nvPicPr>
          <p:cNvPr id="12610" name="Google Shape;12610;p1181" descr="Colorful hands with text overlay&#10;&#10;Description automatically generated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61474" y="2933745"/>
            <a:ext cx="3632200" cy="2724150"/>
          </a:xfrm>
          <a:prstGeom prst="rect">
            <a:avLst/>
          </a:prstGeom>
          <a:noFill/>
          <a:ln>
            <a:noFill/>
          </a:ln>
        </p:spPr>
      </p:pic>
      <p:sp>
        <p:nvSpPr>
          <p:cNvPr id="12611" name="Google Shape;12611;p1181"/>
          <p:cNvSpPr txBox="1"/>
          <p:nvPr/>
        </p:nvSpPr>
        <p:spPr>
          <a:xfrm>
            <a:off x="7587972" y="5657895"/>
            <a:ext cx="4253454" cy="765131"/>
          </a:xfrm>
          <a:prstGeom prst="rect">
            <a:avLst/>
          </a:prstGeom>
          <a:solidFill>
            <a:srgbClr val="FFFFFF"/>
          </a:solidFill>
          <a:ln w="38100" cap="flat" cmpd="sng">
            <a:solidFill>
              <a:srgbClr val="40404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182875" rIns="68575" bIns="182875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40404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#EveryMomEveryTime</a:t>
            </a:r>
            <a:endParaRPr sz="2000" b="0" i="0" u="none" strike="noStrike" cap="none">
              <a:solidFill>
                <a:srgbClr val="40404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rgbClr val="404040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#Notonmywatch</a:t>
            </a:r>
            <a:endParaRPr sz="2000" b="0" i="0" u="none" strike="noStrike" cap="none">
              <a:solidFill>
                <a:srgbClr val="404040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pic>
        <p:nvPicPr>
          <p:cNvPr id="12612" name="Google Shape;12612;p1181" descr="A small child sitting on a bed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8096834" y="615846"/>
            <a:ext cx="3101949" cy="217136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13" name="Google Shape;12613;p1181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096834" y="3164205"/>
            <a:ext cx="3235730" cy="223265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19" name="Google Shape;12619;p1182" descr="A group of women in white lab coats&#10;&#10;Description automatically generated with medium confiden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3393" y="3783088"/>
            <a:ext cx="3360460" cy="2520345"/>
          </a:xfrm>
          <a:prstGeom prst="rect">
            <a:avLst/>
          </a:prstGeom>
          <a:noFill/>
          <a:ln>
            <a:noFill/>
          </a:ln>
        </p:spPr>
      </p:pic>
      <p:sp>
        <p:nvSpPr>
          <p:cNvPr id="12620" name="Google Shape;12620;p1182"/>
          <p:cNvSpPr txBox="1"/>
          <p:nvPr/>
        </p:nvSpPr>
        <p:spPr>
          <a:xfrm>
            <a:off x="606100" y="178742"/>
            <a:ext cx="5982159" cy="535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rgbClr val="8B050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THANKS TO OUR TEAM</a:t>
            </a:r>
            <a:endParaRPr/>
          </a:p>
        </p:txBody>
      </p:sp>
      <p:pic>
        <p:nvPicPr>
          <p:cNvPr id="12621" name="Google Shape;12621;p1182" descr="A person in a suit&#10;&#10;Description automatically generated with low confidenc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829961" y="4732379"/>
            <a:ext cx="1775812" cy="204452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622" name="Google Shape;12622;p1182"/>
          <p:cNvGrpSpPr/>
          <p:nvPr/>
        </p:nvGrpSpPr>
        <p:grpSpPr>
          <a:xfrm>
            <a:off x="4587490" y="738159"/>
            <a:ext cx="2373774" cy="1567107"/>
            <a:chOff x="4046344" y="780008"/>
            <a:chExt cx="2373774" cy="1567107"/>
          </a:xfrm>
        </p:grpSpPr>
        <p:pic>
          <p:nvPicPr>
            <p:cNvPr id="12623" name="Google Shape;12623;p1182" descr="A person smiling for the camera&#10;&#10;Description automatically generated with low confidence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046344" y="787245"/>
              <a:ext cx="1092115" cy="153012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624" name="Google Shape;12624;p1182" descr="A person in a black suit&#10;&#10;Description automatically generated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5374624" y="780008"/>
              <a:ext cx="1045494" cy="156710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625" name="Google Shape;12625;p1182"/>
          <p:cNvGrpSpPr/>
          <p:nvPr/>
        </p:nvGrpSpPr>
        <p:grpSpPr>
          <a:xfrm>
            <a:off x="4060016" y="4407478"/>
            <a:ext cx="3476540" cy="1657395"/>
            <a:chOff x="2943578" y="4515367"/>
            <a:chExt cx="3476540" cy="1657395"/>
          </a:xfrm>
        </p:grpSpPr>
        <p:pic>
          <p:nvPicPr>
            <p:cNvPr id="12626" name="Google Shape;12626;p1182" descr="A person with long hair smiling&#10;&#10;Description automatically generated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4754645" y="4584158"/>
              <a:ext cx="1665473" cy="158860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627" name="Google Shape;12627;p1182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2943578" y="4515367"/>
              <a:ext cx="1604168" cy="165739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628" name="Google Shape;12628;p1182"/>
          <p:cNvGrpSpPr/>
          <p:nvPr/>
        </p:nvGrpSpPr>
        <p:grpSpPr>
          <a:xfrm>
            <a:off x="4357730" y="2594120"/>
            <a:ext cx="2857924" cy="1426881"/>
            <a:chOff x="3934068" y="2560750"/>
            <a:chExt cx="2857924" cy="1426881"/>
          </a:xfrm>
        </p:grpSpPr>
        <p:pic>
          <p:nvPicPr>
            <p:cNvPr id="12629" name="Google Shape;12629;p1182" descr="A close-up of a person smiling&#10;&#10;Description automatically generated"/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3934068" y="2590509"/>
              <a:ext cx="1413196" cy="136736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630" name="Google Shape;12630;p1182" descr="A close-up of a person smiling&#10;&#10;Description automatically generated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5374624" y="2560750"/>
              <a:ext cx="1417368" cy="142688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631" name="Google Shape;12631;p1182"/>
          <p:cNvGrpSpPr/>
          <p:nvPr/>
        </p:nvGrpSpPr>
        <p:grpSpPr>
          <a:xfrm>
            <a:off x="7701611" y="296487"/>
            <a:ext cx="3666608" cy="1724012"/>
            <a:chOff x="7701611" y="296487"/>
            <a:chExt cx="3666608" cy="1724012"/>
          </a:xfrm>
        </p:grpSpPr>
        <p:pic>
          <p:nvPicPr>
            <p:cNvPr id="12632" name="Google Shape;12632;p1182" descr="A picture containing person, wall&#10;&#10;Description automatically generated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 flipH="1">
              <a:off x="7701611" y="296487"/>
              <a:ext cx="1724011" cy="172401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633" name="Google Shape;12633;p1182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10067515" y="296488"/>
              <a:ext cx="1300704" cy="1724011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634" name="Google Shape;12634;p1182"/>
          <p:cNvGrpSpPr/>
          <p:nvPr/>
        </p:nvGrpSpPr>
        <p:grpSpPr>
          <a:xfrm>
            <a:off x="195558" y="699893"/>
            <a:ext cx="4026797" cy="3106416"/>
            <a:chOff x="469180" y="677469"/>
            <a:chExt cx="4026797" cy="3106416"/>
          </a:xfrm>
        </p:grpSpPr>
        <p:pic>
          <p:nvPicPr>
            <p:cNvPr id="12635" name="Google Shape;12635;p1182" descr="A group of people posing for a photo&#10;&#10;Description automatically generated with medium confidence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469180" y="677469"/>
              <a:ext cx="4026797" cy="3106416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636" name="Google Shape;12636;p1182"/>
            <p:cNvGrpSpPr/>
            <p:nvPr/>
          </p:nvGrpSpPr>
          <p:grpSpPr>
            <a:xfrm>
              <a:off x="2482579" y="2317375"/>
              <a:ext cx="935178" cy="1126615"/>
              <a:chOff x="3591905" y="807032"/>
              <a:chExt cx="1815293" cy="1834605"/>
            </a:xfrm>
          </p:grpSpPr>
          <p:sp>
            <p:nvSpPr>
              <p:cNvPr id="12637" name="Google Shape;12637;p1182"/>
              <p:cNvSpPr txBox="1"/>
              <p:nvPr/>
            </p:nvSpPr>
            <p:spPr>
              <a:xfrm>
                <a:off x="3663820" y="2065251"/>
                <a:ext cx="1364074" cy="5763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2638" name="Google Shape;12638;p1182" descr="A person wearing a suit and tie&#10;&#10;Description automatically generated with medium confidence"/>
              <p:cNvPicPr preferRelativeResize="0"/>
              <p:nvPr/>
            </p:nvPicPr>
            <p:blipFill rotWithShape="1">
              <a:blip r:embed="rId14">
                <a:alphaModFix/>
              </a:blip>
              <a:srcRect/>
              <a:stretch/>
            </p:blipFill>
            <p:spPr>
              <a:xfrm>
                <a:off x="3591905" y="807032"/>
                <a:ext cx="1815293" cy="183460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sp>
          <p:nvSpPr>
            <p:cNvPr id="12639" name="Google Shape;12639;p1182"/>
            <p:cNvSpPr txBox="1"/>
            <p:nvPr/>
          </p:nvSpPr>
          <p:spPr>
            <a:xfrm>
              <a:off x="2381559" y="3429001"/>
              <a:ext cx="935178" cy="30777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0" i="0" u="none" strike="noStrike" cap="none">
                  <a:solidFill>
                    <a:srgbClr val="000000"/>
                  </a:solidFill>
                  <a:highlight>
                    <a:srgbClr val="FFFFFF"/>
                  </a:highlight>
                  <a:latin typeface="Arial"/>
                  <a:ea typeface="Arial"/>
                  <a:cs typeface="Arial"/>
                  <a:sym typeface="Arial"/>
                </a:rPr>
                <a:t>Ashish Premkumar</a:t>
              </a:r>
              <a:endParaRPr sz="700" b="0" i="0" u="none" strike="noStrike" cap="none">
                <a:solidFill>
                  <a:srgbClr val="000000"/>
                </a:solidFill>
                <a:highlight>
                  <a:srgbClr val="FFFFFF"/>
                </a:highlight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0" i="0" u="none" strike="noStrike" cap="none">
                  <a:solidFill>
                    <a:srgbClr val="000000"/>
                  </a:solidFill>
                  <a:highlight>
                    <a:srgbClr val="FFFFFF"/>
                  </a:highlight>
                  <a:latin typeface="Arial"/>
                  <a:ea typeface="Arial"/>
                  <a:cs typeface="Arial"/>
                  <a:sym typeface="Arial"/>
                </a:rPr>
                <a:t>MD, PhD</a:t>
              </a:r>
              <a:endParaRPr/>
            </a:p>
          </p:txBody>
        </p:sp>
        <p:pic>
          <p:nvPicPr>
            <p:cNvPr id="12640" name="Google Shape;12640;p1182" descr="A close-up of a person smiling&#10;&#10;Description automatically generated"/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1531033" y="715735"/>
              <a:ext cx="825499" cy="112856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641" name="Google Shape;12641;p1182"/>
            <p:cNvSpPr txBox="1"/>
            <p:nvPr/>
          </p:nvSpPr>
          <p:spPr>
            <a:xfrm>
              <a:off x="1476193" y="1844188"/>
              <a:ext cx="935178" cy="307777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0" i="0" u="none" strike="noStrike" cap="none">
                  <a:solidFill>
                    <a:srgbClr val="000000"/>
                  </a:solidFill>
                  <a:highlight>
                    <a:srgbClr val="FFFFFF"/>
                  </a:highlight>
                  <a:latin typeface="Arial"/>
                  <a:ea typeface="Arial"/>
                  <a:cs typeface="Arial"/>
                  <a:sym typeface="Arial"/>
                </a:rPr>
                <a:t>Jessica Peterson</a:t>
              </a:r>
              <a:endParaRPr/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700" b="0" i="0" u="none" strike="noStrike" cap="none">
                  <a:solidFill>
                    <a:srgbClr val="000000"/>
                  </a:solidFill>
                  <a:highlight>
                    <a:srgbClr val="FFFFFF"/>
                  </a:highlight>
                  <a:latin typeface="Arial"/>
                  <a:ea typeface="Arial"/>
                  <a:cs typeface="Arial"/>
                  <a:sym typeface="Arial"/>
                </a:rPr>
                <a:t>MD</a:t>
              </a:r>
              <a:endParaRPr/>
            </a:p>
          </p:txBody>
        </p:sp>
      </p:grpSp>
      <p:pic>
        <p:nvPicPr>
          <p:cNvPr id="12642" name="Google Shape;12642;p1182" descr="A group of people posing for a photo&#10;&#10;Description automatically generated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7748621" y="2116811"/>
            <a:ext cx="3354639" cy="25192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43" name="Google Shape;12643;p1182" descr="A picture containing person, indoor, wall, kitchen appliance&#10;&#10;Description automatically generated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 rot="5400000">
            <a:off x="7553285" y="4906436"/>
            <a:ext cx="1993060" cy="169640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8" name="Google Shape;12678;p11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Q&amp;A and Zoom Poll</a:t>
            </a:r>
            <a:endParaRPr/>
          </a:p>
        </p:txBody>
      </p:sp>
      <p:sp>
        <p:nvSpPr>
          <p:cNvPr id="12679" name="Google Shape;12679;p11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4" name="Google Shape;12684;p36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itional Resources / Announcements</a:t>
            </a:r>
            <a:endParaRPr/>
          </a:p>
        </p:txBody>
      </p:sp>
      <p:sp>
        <p:nvSpPr>
          <p:cNvPr id="12685" name="Google Shape;12685;p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667110" y="342269"/>
            <a:ext cx="3755367" cy="5661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QI SPEAK UP Champion Training Announcement – April 12th &amp; 19th 2024!</a:t>
            </a:r>
            <a:br>
              <a:rPr lang="en-US"/>
            </a:br>
            <a:br>
              <a:rPr lang="en-US"/>
            </a:br>
            <a:r>
              <a:rPr lang="en-US"/>
              <a:t>ILPQC sponsored FREE 2-day training</a:t>
            </a:r>
            <a:endParaRPr/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59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80902" y="49719"/>
            <a:ext cx="6645214" cy="667396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0" name="Google Shape;12080;p1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Slides Available on ILPQC Website!</a:t>
            </a:r>
            <a:br>
              <a:rPr lang="en-US"/>
            </a:br>
            <a:r>
              <a:rPr lang="en-US" b="0" u="sng">
                <a:solidFill>
                  <a:schemeClr val="hlink"/>
                </a:solidFill>
                <a:hlinkClick r:id="rId3"/>
              </a:rPr>
              <a:t>https://ilpqc.org/2023-annual-conference/</a:t>
            </a:r>
            <a:r>
              <a:rPr lang="en-US" b="0"/>
              <a:t> </a:t>
            </a:r>
            <a:endParaRPr/>
          </a:p>
        </p:txBody>
      </p:sp>
      <p:sp>
        <p:nvSpPr>
          <p:cNvPr id="12081" name="Google Shape;12081;p1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  <p:sp>
        <p:nvSpPr>
          <p:cNvPr id="12082" name="Google Shape;12082;p11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pic>
        <p:nvPicPr>
          <p:cNvPr id="12083" name="Google Shape;12083;p1140" descr="A white text with blue text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159439" y="1783999"/>
            <a:ext cx="9589698" cy="43976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" name="Google Shape;12697;p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Looking towards 2024</a:t>
            </a:r>
            <a:endParaRPr/>
          </a:p>
        </p:txBody>
      </p:sp>
      <p:sp>
        <p:nvSpPr>
          <p:cNvPr id="12698" name="Google Shape;12698;p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04" name="Google Shape;12704;p1191" descr="Woman holding a baby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 l="-5541"/>
          <a:stretch/>
        </p:blipFill>
        <p:spPr>
          <a:xfrm>
            <a:off x="1556310" y="1282"/>
            <a:ext cx="11228697" cy="6856718"/>
          </a:xfrm>
          <a:prstGeom prst="rect">
            <a:avLst/>
          </a:prstGeom>
          <a:noFill/>
          <a:ln>
            <a:noFill/>
          </a:ln>
        </p:spPr>
      </p:pic>
      <p:sp>
        <p:nvSpPr>
          <p:cNvPr id="12705" name="Google Shape;12705;p1191"/>
          <p:cNvSpPr txBox="1">
            <a:spLocks noGrp="1"/>
          </p:cNvSpPr>
          <p:nvPr>
            <p:ph type="ftr" idx="11"/>
          </p:nvPr>
        </p:nvSpPr>
        <p:spPr>
          <a:xfrm>
            <a:off x="757227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2706" name="Google Shape;12706;p119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FFFFFF"/>
                </a:solidFill>
              </a:rPr>
              <a:t>61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2707" name="Google Shape;12707;p1191"/>
          <p:cNvSpPr txBox="1"/>
          <p:nvPr/>
        </p:nvSpPr>
        <p:spPr>
          <a:xfrm>
            <a:off x="153095" y="109609"/>
            <a:ext cx="5617882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ing the infrastructure to sustain Birth Equity work</a:t>
            </a:r>
            <a:endParaRPr sz="12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08" name="Google Shape;12708;p1191"/>
          <p:cNvSpPr/>
          <p:nvPr/>
        </p:nvSpPr>
        <p:spPr>
          <a:xfrm>
            <a:off x="61968" y="1245192"/>
            <a:ext cx="6686734" cy="5611526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2857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24 BE Goals: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tinue to build partnerships with patients and community</a:t>
            </a:r>
            <a:endParaRPr sz="2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st Respectful Care Breakfasts</a:t>
            </a: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tient Partner on QI team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 relationships with community partners to improve patient linkage </a:t>
            </a:r>
            <a:r>
              <a:rPr lang="en-US" sz="2000" dirty="0"/>
              <a:t>(ex. </a:t>
            </a: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mmunity Doulas and Home Visiting Programs)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pand Birth Equity strategies to outpatient sites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% PREM survey completion &gt; 10% to obtain patient feedback &amp; continue to improve respectful care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ratify data &amp; take action on disparities</a:t>
            </a:r>
            <a:endParaRPr dirty="0"/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892181-0B83-421E-83D0-D34C34CE8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rth Equity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5AB6B-E195-4A18-8EF0-2C94742FBF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155065"/>
            <a:ext cx="10972800" cy="4351338"/>
          </a:xfrm>
        </p:spPr>
        <p:txBody>
          <a:bodyPr/>
          <a:lstStyle/>
          <a:p>
            <a:r>
              <a:rPr lang="en-US" dirty="0"/>
              <a:t>Monthly BE calls through Face to Face Meeting in May 2024</a:t>
            </a:r>
          </a:p>
          <a:p>
            <a:pPr lvl="1"/>
            <a:r>
              <a:rPr lang="en-US" dirty="0"/>
              <a:t>Monthly calls will  focus on 2024 key goals</a:t>
            </a:r>
          </a:p>
          <a:p>
            <a:pPr lvl="1"/>
            <a:r>
              <a:rPr lang="en-US" dirty="0"/>
              <a:t>Then move towards quarterly calls for active BE sustainability remainder of 2024 into 2025 </a:t>
            </a:r>
          </a:p>
          <a:p>
            <a:pPr lvl="1"/>
            <a:r>
              <a:rPr lang="en-US" dirty="0"/>
              <a:t>Goal to help all hospitals move to sustainability  and cross the BE finish line to make sure have key equity infrastructure in place during 2024</a:t>
            </a:r>
          </a:p>
          <a:p>
            <a:r>
              <a:rPr lang="en-US" dirty="0"/>
              <a:t>Shared Decision Making  / Team Birth </a:t>
            </a:r>
          </a:p>
          <a:p>
            <a:pPr lvl="1"/>
            <a:r>
              <a:rPr lang="en-US" dirty="0"/>
              <a:t>Work to sustain Birth Equity work through specific work focusing on improving shared decision making / respectful care during delivery with free Team Birth training for delivery staff</a:t>
            </a:r>
          </a:p>
          <a:p>
            <a:pPr lvl="1"/>
            <a:r>
              <a:rPr lang="en-US" dirty="0"/>
              <a:t>22 hospitals have signed up to possibly participate</a:t>
            </a:r>
          </a:p>
          <a:p>
            <a:pPr lvl="1"/>
            <a:r>
              <a:rPr lang="en-US" dirty="0"/>
              <a:t>Will find out in March if ILPQC </a:t>
            </a:r>
            <a:r>
              <a:rPr lang="en-US" dirty="0" err="1"/>
              <a:t>TeamBirth</a:t>
            </a:r>
            <a:r>
              <a:rPr lang="en-US" dirty="0"/>
              <a:t> is funded by PCORI</a:t>
            </a:r>
          </a:p>
          <a:p>
            <a:r>
              <a:rPr lang="en-US" dirty="0"/>
              <a:t>If interested in STAMPP Postpartum HTN program</a:t>
            </a:r>
          </a:p>
          <a:p>
            <a:pPr lvl="1"/>
            <a:r>
              <a:rPr lang="en-US" dirty="0"/>
              <a:t>let us know and we will link you to Dr. Rana’s team at U of C </a:t>
            </a:r>
            <a:r>
              <a:rPr lang="en-US" dirty="0" err="1"/>
              <a:t>forinformation</a:t>
            </a:r>
            <a:r>
              <a:rPr lang="en-US" dirty="0"/>
              <a:t> / supp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B8E3D2-D635-4CE3-933E-94ECC53E4B5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97189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4" name="Google Shape;12714;p42"/>
          <p:cNvSpPr txBox="1"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Upcoming BE Calls</a:t>
            </a:r>
            <a:endParaRPr/>
          </a:p>
        </p:txBody>
      </p:sp>
      <p:sp>
        <p:nvSpPr>
          <p:cNvPr id="12715" name="Google Shape;12715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63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6" name="Google Shape;12716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graphicFrame>
        <p:nvGraphicFramePr>
          <p:cNvPr id="12717" name="Google Shape;12717;p42"/>
          <p:cNvGraphicFramePr/>
          <p:nvPr/>
        </p:nvGraphicFramePr>
        <p:xfrm>
          <a:off x="244415" y="1351471"/>
          <a:ext cx="9728675" cy="4540675"/>
        </p:xfrm>
        <a:graphic>
          <a:graphicData uri="http://schemas.openxmlformats.org/drawingml/2006/table">
            <a:tbl>
              <a:tblPr firstRow="1" bandRow="1">
                <a:noFill/>
                <a:tableStyleId>{907AF9B1-F0F0-4187-A23C-68A95F3377F3}</a:tableStyleId>
              </a:tblPr>
              <a:tblGrid>
                <a:gridCol w="555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>
                          <a:solidFill>
                            <a:srgbClr val="000000"/>
                          </a:solidFill>
                        </a:rPr>
                        <a:t>Event </a:t>
                      </a:r>
                      <a:endParaRPr sz="1400" u="none" strike="noStrike" cap="none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>
                          <a:solidFill>
                            <a:srgbClr val="000000"/>
                          </a:solidFill>
                        </a:rPr>
                        <a:t>Day/Time </a:t>
                      </a:r>
                      <a:endParaRPr sz="14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 January Webinar</a:t>
                      </a:r>
                      <a:endParaRPr sz="2400" b="1" i="0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January 22nd 12-1pm CT (moved due to MLK holiday)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February Webinar</a:t>
                      </a:r>
                      <a:endParaRPr sz="2400" b="1" i="0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February 19th 12-1pm CT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March Webinar</a:t>
                      </a:r>
                      <a:endParaRPr sz="2400" b="1" i="0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March 18th 12-1pm CT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April Webinar</a:t>
                      </a:r>
                      <a:endParaRPr sz="2400" b="1" i="0" u="none" strike="noStrike" cap="non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April 15th 12-1pm CT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2718" name="Google Shape;12718;p42" descr="Daily calendar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5910" y="2089272"/>
            <a:ext cx="2707630" cy="2676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/>
              <a:t>64</a:t>
            </a:fld>
            <a:endParaRPr/>
          </a:p>
        </p:txBody>
      </p:sp>
      <p:sp>
        <p:nvSpPr>
          <p:cNvPr id="12725" name="Google Shape;12725;p1192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ILPQC 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48" name="Google Shape;12648;p1183"/>
          <p:cNvSpPr txBox="1">
            <a:spLocks noGrp="1"/>
          </p:cNvSpPr>
          <p:nvPr>
            <p:ph type="title"/>
          </p:nvPr>
        </p:nvSpPr>
        <p:spPr>
          <a:xfrm>
            <a:off x="637082" y="3055303"/>
            <a:ext cx="7142813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</a:pPr>
            <a:r>
              <a:rPr lang="en-US" dirty="0"/>
              <a:t>APPENDIX STAMMP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699932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58" name="Google Shape;12658;p1185" descr="A chart of a patient's schedul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25751" y="220663"/>
            <a:ext cx="9940497" cy="6038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23655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63" name="Google Shape;12663;p1186" descr="A diagram of a patien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916864" y="220663"/>
            <a:ext cx="8358272" cy="6038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992428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68" name="Google Shape;12668;p1187" descr="A chart with text and images&#10;&#10;Description automatically generated with medium confiden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88078" y="220663"/>
            <a:ext cx="8815843" cy="6038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96545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73" name="Google Shape;12673;p1188" descr="A diagram of a patient's health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37309" y="220663"/>
            <a:ext cx="7717382" cy="6038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0247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8" name="Google Shape;12088;p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Data Review</a:t>
            </a:r>
            <a:endParaRPr/>
          </a:p>
        </p:txBody>
      </p:sp>
      <p:sp>
        <p:nvSpPr>
          <p:cNvPr id="12089" name="Google Shape;12089;p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94" name="Google Shape;12094;p1141"/>
          <p:cNvSpPr/>
          <p:nvPr/>
        </p:nvSpPr>
        <p:spPr>
          <a:xfrm>
            <a:off x="4265682" y="3930495"/>
            <a:ext cx="3554662" cy="2455310"/>
          </a:xfrm>
          <a:custGeom>
            <a:avLst/>
            <a:gdLst/>
            <a:ahLst/>
            <a:cxnLst/>
            <a:rect l="l" t="t" r="r" b="b"/>
            <a:pathLst>
              <a:path w="2387199" h="1648909" extrusionOk="0">
                <a:moveTo>
                  <a:pt x="0" y="0"/>
                </a:moveTo>
                <a:lnTo>
                  <a:pt x="2387199" y="0"/>
                </a:lnTo>
                <a:lnTo>
                  <a:pt x="2387199" y="1648909"/>
                </a:lnTo>
                <a:lnTo>
                  <a:pt x="0" y="1648909"/>
                </a:lnTo>
                <a:close/>
              </a:path>
            </a:pathLst>
          </a:custGeom>
          <a:solidFill>
            <a:srgbClr val="7ED957"/>
          </a:solidFill>
          <a:ln>
            <a:noFill/>
          </a:ln>
        </p:spPr>
      </p:sp>
      <p:sp>
        <p:nvSpPr>
          <p:cNvPr id="12095" name="Google Shape;12095;p1141"/>
          <p:cNvSpPr/>
          <p:nvPr/>
        </p:nvSpPr>
        <p:spPr>
          <a:xfrm>
            <a:off x="8081035" y="3930495"/>
            <a:ext cx="3554662" cy="2455310"/>
          </a:xfrm>
          <a:custGeom>
            <a:avLst/>
            <a:gdLst/>
            <a:ahLst/>
            <a:cxnLst/>
            <a:rect l="l" t="t" r="r" b="b"/>
            <a:pathLst>
              <a:path w="2387199" h="1648909" extrusionOk="0">
                <a:moveTo>
                  <a:pt x="0" y="0"/>
                </a:moveTo>
                <a:lnTo>
                  <a:pt x="2387199" y="0"/>
                </a:lnTo>
                <a:lnTo>
                  <a:pt x="2387199" y="1648909"/>
                </a:lnTo>
                <a:lnTo>
                  <a:pt x="0" y="1648909"/>
                </a:lnTo>
                <a:close/>
              </a:path>
            </a:pathLst>
          </a:custGeom>
          <a:solidFill>
            <a:srgbClr val="FF66C4"/>
          </a:solidFill>
          <a:ln>
            <a:noFill/>
          </a:ln>
        </p:spPr>
      </p:sp>
      <p:sp>
        <p:nvSpPr>
          <p:cNvPr id="12096" name="Google Shape;12096;p1141"/>
          <p:cNvSpPr/>
          <p:nvPr/>
        </p:nvSpPr>
        <p:spPr>
          <a:xfrm>
            <a:off x="4265318" y="1243801"/>
            <a:ext cx="3554662" cy="2438363"/>
          </a:xfrm>
          <a:custGeom>
            <a:avLst/>
            <a:gdLst/>
            <a:ahLst/>
            <a:cxnLst/>
            <a:rect l="l" t="t" r="r" b="b"/>
            <a:pathLst>
              <a:path w="2387199" h="1637528" extrusionOk="0">
                <a:moveTo>
                  <a:pt x="0" y="0"/>
                </a:moveTo>
                <a:lnTo>
                  <a:pt x="2387199" y="0"/>
                </a:lnTo>
                <a:lnTo>
                  <a:pt x="2387199" y="1637528"/>
                </a:lnTo>
                <a:lnTo>
                  <a:pt x="0" y="1637528"/>
                </a:lnTo>
                <a:close/>
              </a:path>
            </a:pathLst>
          </a:custGeom>
          <a:solidFill>
            <a:srgbClr val="FF5757"/>
          </a:solidFill>
          <a:ln>
            <a:noFill/>
          </a:ln>
        </p:spPr>
      </p:sp>
      <p:sp>
        <p:nvSpPr>
          <p:cNvPr id="12097" name="Google Shape;12097;p1141"/>
          <p:cNvSpPr/>
          <p:nvPr/>
        </p:nvSpPr>
        <p:spPr>
          <a:xfrm>
            <a:off x="8081035" y="1226854"/>
            <a:ext cx="3554662" cy="2455310"/>
          </a:xfrm>
          <a:custGeom>
            <a:avLst/>
            <a:gdLst/>
            <a:ahLst/>
            <a:cxnLst/>
            <a:rect l="l" t="t" r="r" b="b"/>
            <a:pathLst>
              <a:path w="2387199" h="1648909" extrusionOk="0">
                <a:moveTo>
                  <a:pt x="0" y="0"/>
                </a:moveTo>
                <a:lnTo>
                  <a:pt x="2387199" y="0"/>
                </a:lnTo>
                <a:lnTo>
                  <a:pt x="2387199" y="1648909"/>
                </a:lnTo>
                <a:lnTo>
                  <a:pt x="0" y="1648909"/>
                </a:lnTo>
                <a:close/>
              </a:path>
            </a:pathLst>
          </a:custGeom>
          <a:solidFill>
            <a:srgbClr val="FFDE59"/>
          </a:solidFill>
          <a:ln>
            <a:noFill/>
          </a:ln>
        </p:spPr>
      </p:sp>
      <p:sp>
        <p:nvSpPr>
          <p:cNvPr id="12098" name="Google Shape;12098;p1141"/>
          <p:cNvSpPr/>
          <p:nvPr/>
        </p:nvSpPr>
        <p:spPr>
          <a:xfrm>
            <a:off x="450329" y="3930495"/>
            <a:ext cx="3554662" cy="2455310"/>
          </a:xfrm>
          <a:custGeom>
            <a:avLst/>
            <a:gdLst/>
            <a:ahLst/>
            <a:cxnLst/>
            <a:rect l="l" t="t" r="r" b="b"/>
            <a:pathLst>
              <a:path w="2387199" h="1648909" extrusionOk="0">
                <a:moveTo>
                  <a:pt x="0" y="0"/>
                </a:moveTo>
                <a:lnTo>
                  <a:pt x="2387199" y="0"/>
                </a:lnTo>
                <a:lnTo>
                  <a:pt x="2387199" y="1648909"/>
                </a:lnTo>
                <a:lnTo>
                  <a:pt x="0" y="1648909"/>
                </a:lnTo>
                <a:close/>
              </a:path>
            </a:pathLst>
          </a:custGeom>
          <a:solidFill>
            <a:srgbClr val="0CC0DF"/>
          </a:solidFill>
          <a:ln>
            <a:noFill/>
          </a:ln>
        </p:spPr>
      </p:sp>
      <p:sp>
        <p:nvSpPr>
          <p:cNvPr id="12099" name="Google Shape;12099;p1141"/>
          <p:cNvSpPr/>
          <p:nvPr/>
        </p:nvSpPr>
        <p:spPr>
          <a:xfrm>
            <a:off x="450329" y="1243801"/>
            <a:ext cx="3554662" cy="2438363"/>
          </a:xfrm>
          <a:prstGeom prst="rect">
            <a:avLst/>
          </a:prstGeom>
          <a:solidFill>
            <a:srgbClr val="CB6CE6">
              <a:alpha val="34901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00" name="Google Shape;12100;p1141"/>
          <p:cNvSpPr/>
          <p:nvPr/>
        </p:nvSpPr>
        <p:spPr>
          <a:xfrm>
            <a:off x="1582648" y="1379838"/>
            <a:ext cx="1290025" cy="1290025"/>
          </a:xfrm>
          <a:custGeom>
            <a:avLst/>
            <a:gdLst/>
            <a:ahLst/>
            <a:cxnLst/>
            <a:rect l="l" t="t" r="r" b="b"/>
            <a:pathLst>
              <a:path w="1935037" h="1935037" extrusionOk="0">
                <a:moveTo>
                  <a:pt x="0" y="0"/>
                </a:moveTo>
                <a:lnTo>
                  <a:pt x="1935037" y="0"/>
                </a:lnTo>
                <a:lnTo>
                  <a:pt x="1935037" y="1935037"/>
                </a:lnTo>
                <a:lnTo>
                  <a:pt x="0" y="193503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1" name="Google Shape;12101;p1141"/>
          <p:cNvSpPr/>
          <p:nvPr/>
        </p:nvSpPr>
        <p:spPr>
          <a:xfrm>
            <a:off x="5400945" y="1379838"/>
            <a:ext cx="1283407" cy="1312947"/>
          </a:xfrm>
          <a:custGeom>
            <a:avLst/>
            <a:gdLst/>
            <a:ahLst/>
            <a:cxnLst/>
            <a:rect l="l" t="t" r="r" b="b"/>
            <a:pathLst>
              <a:path w="1925110" h="1969421" extrusionOk="0">
                <a:moveTo>
                  <a:pt x="0" y="0"/>
                </a:moveTo>
                <a:lnTo>
                  <a:pt x="1925109" y="0"/>
                </a:lnTo>
                <a:lnTo>
                  <a:pt x="1925109" y="1969421"/>
                </a:lnTo>
                <a:lnTo>
                  <a:pt x="0" y="196942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2" name="Google Shape;12102;p1141"/>
          <p:cNvSpPr/>
          <p:nvPr/>
        </p:nvSpPr>
        <p:spPr>
          <a:xfrm>
            <a:off x="9125816" y="1379838"/>
            <a:ext cx="1506970" cy="1312947"/>
          </a:xfrm>
          <a:custGeom>
            <a:avLst/>
            <a:gdLst/>
            <a:ahLst/>
            <a:cxnLst/>
            <a:rect l="l" t="t" r="r" b="b"/>
            <a:pathLst>
              <a:path w="2260455" h="1969421" extrusionOk="0">
                <a:moveTo>
                  <a:pt x="0" y="0"/>
                </a:moveTo>
                <a:lnTo>
                  <a:pt x="2260455" y="0"/>
                </a:lnTo>
                <a:lnTo>
                  <a:pt x="2260455" y="1969421"/>
                </a:lnTo>
                <a:lnTo>
                  <a:pt x="0" y="1969421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3" name="Google Shape;12103;p1141"/>
          <p:cNvSpPr/>
          <p:nvPr/>
        </p:nvSpPr>
        <p:spPr>
          <a:xfrm>
            <a:off x="1198346" y="4147193"/>
            <a:ext cx="2058628" cy="1175991"/>
          </a:xfrm>
          <a:custGeom>
            <a:avLst/>
            <a:gdLst/>
            <a:ahLst/>
            <a:cxnLst/>
            <a:rect l="l" t="t" r="r" b="b"/>
            <a:pathLst>
              <a:path w="3087942" h="1763987" extrusionOk="0">
                <a:moveTo>
                  <a:pt x="0" y="0"/>
                </a:moveTo>
                <a:lnTo>
                  <a:pt x="3087942" y="0"/>
                </a:lnTo>
                <a:lnTo>
                  <a:pt x="3087942" y="1763987"/>
                </a:lnTo>
                <a:lnTo>
                  <a:pt x="0" y="176398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6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4" name="Google Shape;12104;p1141"/>
          <p:cNvSpPr/>
          <p:nvPr/>
        </p:nvSpPr>
        <p:spPr>
          <a:xfrm>
            <a:off x="5337414" y="4147193"/>
            <a:ext cx="1410469" cy="1166843"/>
          </a:xfrm>
          <a:custGeom>
            <a:avLst/>
            <a:gdLst/>
            <a:ahLst/>
            <a:cxnLst/>
            <a:rect l="l" t="t" r="r" b="b"/>
            <a:pathLst>
              <a:path w="2115703" h="1750264" extrusionOk="0">
                <a:moveTo>
                  <a:pt x="0" y="0"/>
                </a:moveTo>
                <a:lnTo>
                  <a:pt x="2115703" y="0"/>
                </a:lnTo>
                <a:lnTo>
                  <a:pt x="2115703" y="1750264"/>
                </a:lnTo>
                <a:lnTo>
                  <a:pt x="0" y="1750264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7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5" name="Google Shape;12105;p1141"/>
          <p:cNvSpPr/>
          <p:nvPr/>
        </p:nvSpPr>
        <p:spPr>
          <a:xfrm>
            <a:off x="9243958" y="4095272"/>
            <a:ext cx="1270685" cy="1270685"/>
          </a:xfrm>
          <a:custGeom>
            <a:avLst/>
            <a:gdLst/>
            <a:ahLst/>
            <a:cxnLst/>
            <a:rect l="l" t="t" r="r" b="b"/>
            <a:pathLst>
              <a:path w="1906027" h="1906027" extrusionOk="0">
                <a:moveTo>
                  <a:pt x="0" y="0"/>
                </a:moveTo>
                <a:lnTo>
                  <a:pt x="1906027" y="0"/>
                </a:lnTo>
                <a:lnTo>
                  <a:pt x="1906027" y="1906026"/>
                </a:lnTo>
                <a:lnTo>
                  <a:pt x="0" y="1906026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8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06" name="Google Shape;12106;p1141"/>
          <p:cNvSpPr txBox="1"/>
          <p:nvPr/>
        </p:nvSpPr>
        <p:spPr>
          <a:xfrm>
            <a:off x="225165" y="229903"/>
            <a:ext cx="7807625" cy="820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3291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By December 2023, </a:t>
            </a:r>
            <a:r>
              <a:rPr lang="en-US" sz="2400" b="1" i="0" u="sng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&gt;</a:t>
            </a:r>
            <a:r>
              <a:rPr lang="en-US" sz="2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 70% of participating hospitals will have implemented each key strategy</a:t>
            </a:r>
            <a:endParaRPr/>
          </a:p>
        </p:txBody>
      </p:sp>
      <p:sp>
        <p:nvSpPr>
          <p:cNvPr id="12107" name="Google Shape;12107;p1141"/>
          <p:cNvSpPr txBox="1"/>
          <p:nvPr/>
        </p:nvSpPr>
        <p:spPr>
          <a:xfrm>
            <a:off x="394808" y="2840117"/>
            <a:ext cx="3665707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Optimize race and ethnicity data collection and review stratified maternal quality data ​​</a:t>
            </a:r>
            <a:endParaRPr/>
          </a:p>
        </p:txBody>
      </p:sp>
      <p:sp>
        <p:nvSpPr>
          <p:cNvPr id="12108" name="Google Shape;12108;p1141"/>
          <p:cNvSpPr txBox="1"/>
          <p:nvPr/>
        </p:nvSpPr>
        <p:spPr>
          <a:xfrm>
            <a:off x="556221" y="5469234"/>
            <a:ext cx="3347511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Engage patients and community members for quality improvement input ​​</a:t>
            </a:r>
            <a:endParaRPr/>
          </a:p>
        </p:txBody>
      </p:sp>
      <p:sp>
        <p:nvSpPr>
          <p:cNvPr id="12109" name="Google Shape;12109;p1141"/>
          <p:cNvSpPr txBox="1"/>
          <p:nvPr/>
        </p:nvSpPr>
        <p:spPr>
          <a:xfrm>
            <a:off x="4368893" y="5453736"/>
            <a:ext cx="3347511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Implicit bias &amp; respectful care training for providers, nurses, other staff​​</a:t>
            </a:r>
            <a:endParaRPr/>
          </a:p>
        </p:txBody>
      </p:sp>
      <p:sp>
        <p:nvSpPr>
          <p:cNvPr id="12110" name="Google Shape;12110;p1141"/>
          <p:cNvSpPr txBox="1"/>
          <p:nvPr/>
        </p:nvSpPr>
        <p:spPr>
          <a:xfrm>
            <a:off x="8109737" y="5505656"/>
            <a:ext cx="3516656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hare respectful care practices and survey patients on their care experience​​</a:t>
            </a:r>
            <a:endParaRPr/>
          </a:p>
        </p:txBody>
      </p:sp>
      <p:sp>
        <p:nvSpPr>
          <p:cNvPr id="12111" name="Google Shape;12111;p1141"/>
          <p:cNvSpPr txBox="1"/>
          <p:nvPr/>
        </p:nvSpPr>
        <p:spPr>
          <a:xfrm>
            <a:off x="8100434" y="2834047"/>
            <a:ext cx="3535263" cy="773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tandardize postpartum safety education and schedule early postpartum visit​​</a:t>
            </a:r>
            <a:endParaRPr/>
          </a:p>
        </p:txBody>
      </p:sp>
      <p:sp>
        <p:nvSpPr>
          <p:cNvPr id="12112" name="Google Shape;12112;p1141"/>
          <p:cNvSpPr txBox="1"/>
          <p:nvPr/>
        </p:nvSpPr>
        <p:spPr>
          <a:xfrm>
            <a:off x="4280017" y="2834047"/>
            <a:ext cx="3540327" cy="773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85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>
                <a:solidFill>
                  <a:srgbClr val="373737"/>
                </a:solidFill>
                <a:latin typeface="Arial"/>
                <a:ea typeface="Arial"/>
                <a:cs typeface="Arial"/>
                <a:sym typeface="Arial"/>
              </a:rPr>
              <a:t>Screen all patients for social determinants of health and link to needed services​​</a:t>
            </a:r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8" name="Google Shape;12118;p1142"/>
          <p:cNvSpPr/>
          <p:nvPr/>
        </p:nvSpPr>
        <p:spPr>
          <a:xfrm>
            <a:off x="488158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119" name="Google Shape;12119;p1142"/>
          <p:cNvSpPr/>
          <p:nvPr/>
        </p:nvSpPr>
        <p:spPr>
          <a:xfrm>
            <a:off x="6096000" y="2021687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120" name="Google Shape;12120;p1142"/>
          <p:cNvSpPr/>
          <p:nvPr/>
        </p:nvSpPr>
        <p:spPr>
          <a:xfrm>
            <a:off x="3471609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sp>
        <p:nvSpPr>
          <p:cNvPr id="12121" name="Google Shape;12121;p1142"/>
          <p:cNvSpPr/>
          <p:nvPr/>
        </p:nvSpPr>
        <p:spPr>
          <a:xfrm>
            <a:off x="9079451" y="1429223"/>
            <a:ext cx="2743200" cy="2743200"/>
          </a:xfrm>
          <a:custGeom>
            <a:avLst/>
            <a:gdLst/>
            <a:ahLst/>
            <a:cxnLst/>
            <a:rect l="l" t="t" r="r" b="b"/>
            <a:pathLst>
              <a:path w="4114800" h="4114800" extrusionOk="0">
                <a:moveTo>
                  <a:pt x="0" y="0"/>
                </a:moveTo>
                <a:lnTo>
                  <a:pt x="4114800" y="0"/>
                </a:lnTo>
                <a:lnTo>
                  <a:pt x="4114800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 amt="30000"/>
            </a:blip>
            <a:stretch>
              <a:fillRect/>
            </a:stretch>
          </a:blipFill>
          <a:ln>
            <a:noFill/>
          </a:ln>
        </p:spPr>
      </p:sp>
      <p:grpSp>
        <p:nvGrpSpPr>
          <p:cNvPr id="12122" name="Google Shape;12122;p1142"/>
          <p:cNvGrpSpPr/>
          <p:nvPr/>
        </p:nvGrpSpPr>
        <p:grpSpPr>
          <a:xfrm>
            <a:off x="686812" y="4378025"/>
            <a:ext cx="2091515" cy="596985"/>
            <a:chOff x="0" y="-57150"/>
            <a:chExt cx="1624031" cy="463550"/>
          </a:xfrm>
        </p:grpSpPr>
        <p:sp>
          <p:nvSpPr>
            <p:cNvPr id="12123" name="Google Shape;12123;p1142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BDE4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4" name="Google Shape;12124;p1142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25" name="Google Shape;12125;p1142"/>
          <p:cNvGrpSpPr/>
          <p:nvPr/>
        </p:nvGrpSpPr>
        <p:grpSpPr>
          <a:xfrm>
            <a:off x="915612" y="2504096"/>
            <a:ext cx="1633915" cy="1633915"/>
            <a:chOff x="0" y="0"/>
            <a:chExt cx="812800" cy="812800"/>
          </a:xfrm>
        </p:grpSpPr>
        <p:sp>
          <p:nvSpPr>
            <p:cNvPr id="12126" name="Google Shape;12126;p114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BDE4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27" name="Google Shape;12127;p1142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28" name="Google Shape;12128;p1142"/>
          <p:cNvGrpSpPr/>
          <p:nvPr/>
        </p:nvGrpSpPr>
        <p:grpSpPr>
          <a:xfrm>
            <a:off x="3595765" y="3736624"/>
            <a:ext cx="2259984" cy="596985"/>
            <a:chOff x="0" y="-57150"/>
            <a:chExt cx="1624031" cy="463550"/>
          </a:xfrm>
        </p:grpSpPr>
        <p:sp>
          <p:nvSpPr>
            <p:cNvPr id="12129" name="Google Shape;12129;p1142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0" name="Google Shape;12130;p1142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31" name="Google Shape;12131;p1142"/>
          <p:cNvGrpSpPr/>
          <p:nvPr/>
        </p:nvGrpSpPr>
        <p:grpSpPr>
          <a:xfrm>
            <a:off x="3824566" y="1759374"/>
            <a:ext cx="1633915" cy="1633915"/>
            <a:chOff x="0" y="0"/>
            <a:chExt cx="812800" cy="812800"/>
          </a:xfrm>
        </p:grpSpPr>
        <p:sp>
          <p:nvSpPr>
            <p:cNvPr id="12132" name="Google Shape;12132;p114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C7EC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3" name="Google Shape;12133;p1142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34" name="Google Shape;12134;p1142"/>
          <p:cNvGrpSpPr/>
          <p:nvPr/>
        </p:nvGrpSpPr>
        <p:grpSpPr>
          <a:xfrm>
            <a:off x="9413676" y="3736624"/>
            <a:ext cx="2290167" cy="596985"/>
            <a:chOff x="0" y="-57150"/>
            <a:chExt cx="1624031" cy="463550"/>
          </a:xfrm>
        </p:grpSpPr>
        <p:sp>
          <p:nvSpPr>
            <p:cNvPr id="12135" name="Google Shape;12135;p1142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E894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6" name="Google Shape;12136;p1142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37" name="Google Shape;12137;p1142"/>
          <p:cNvGrpSpPr/>
          <p:nvPr/>
        </p:nvGrpSpPr>
        <p:grpSpPr>
          <a:xfrm>
            <a:off x="9642476" y="1759374"/>
            <a:ext cx="1633915" cy="1633915"/>
            <a:chOff x="0" y="0"/>
            <a:chExt cx="812800" cy="812800"/>
          </a:xfrm>
        </p:grpSpPr>
        <p:sp>
          <p:nvSpPr>
            <p:cNvPr id="12138" name="Google Shape;12138;p114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E8945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39" name="Google Shape;12139;p1142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40" name="Google Shape;12140;p1142"/>
          <p:cNvGrpSpPr/>
          <p:nvPr/>
        </p:nvGrpSpPr>
        <p:grpSpPr>
          <a:xfrm>
            <a:off x="6440147" y="4145550"/>
            <a:ext cx="2336904" cy="945697"/>
            <a:chOff x="0" y="-57150"/>
            <a:chExt cx="1624031" cy="463550"/>
          </a:xfrm>
        </p:grpSpPr>
        <p:sp>
          <p:nvSpPr>
            <p:cNvPr id="12141" name="Google Shape;12141;p1142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819F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2" name="Google Shape;12142;p1142"/>
            <p:cNvSpPr txBox="1"/>
            <p:nvPr/>
          </p:nvSpPr>
          <p:spPr>
            <a:xfrm>
              <a:off x="0" y="-57150"/>
              <a:ext cx="812800" cy="463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2143" name="Google Shape;12143;p1142"/>
          <p:cNvGrpSpPr/>
          <p:nvPr/>
        </p:nvGrpSpPr>
        <p:grpSpPr>
          <a:xfrm>
            <a:off x="6798097" y="2517011"/>
            <a:ext cx="1633915" cy="1633915"/>
            <a:chOff x="0" y="0"/>
            <a:chExt cx="812800" cy="812800"/>
          </a:xfrm>
        </p:grpSpPr>
        <p:sp>
          <p:nvSpPr>
            <p:cNvPr id="12144" name="Google Shape;12144;p114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 extrusionOk="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819F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5" name="Google Shape;12145;p1142"/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27987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800" b="0" i="0" u="none" strike="noStrike" cap="none">
                <a:solidFill>
                  <a:srgbClr val="444C55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46" name="Google Shape;12146;p1142"/>
          <p:cNvSpPr/>
          <p:nvPr/>
        </p:nvSpPr>
        <p:spPr>
          <a:xfrm>
            <a:off x="-576664" y="6548095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2" y="0"/>
                </a:lnTo>
                <a:lnTo>
                  <a:pt x="1729992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4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47" name="Google Shape;12147;p1142"/>
          <p:cNvSpPr/>
          <p:nvPr/>
        </p:nvSpPr>
        <p:spPr>
          <a:xfrm>
            <a:off x="1859759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48" name="Google Shape;12148;p1142"/>
          <p:cNvSpPr/>
          <p:nvPr/>
        </p:nvSpPr>
        <p:spPr>
          <a:xfrm>
            <a:off x="4641524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49" name="Google Shape;12149;p1142"/>
          <p:cNvSpPr/>
          <p:nvPr/>
        </p:nvSpPr>
        <p:spPr>
          <a:xfrm>
            <a:off x="9297723" y="3090388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sp>
        <p:nvSpPr>
          <p:cNvPr id="12150" name="Google Shape;12150;p1142"/>
          <p:cNvSpPr/>
          <p:nvPr/>
        </p:nvSpPr>
        <p:spPr>
          <a:xfrm>
            <a:off x="6397150" y="2330162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 extrusionOk="0">
                <a:moveTo>
                  <a:pt x="0" y="0"/>
                </a:moveTo>
                <a:lnTo>
                  <a:pt x="1729993" y="0"/>
                </a:lnTo>
                <a:lnTo>
                  <a:pt x="1729993" y="691997"/>
                </a:lnTo>
                <a:lnTo>
                  <a:pt x="0" y="691997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5">
              <a:alphaModFix/>
            </a:blip>
            <a:stretch>
              <a:fillRect/>
            </a:stretch>
          </a:blipFill>
          <a:ln>
            <a:noFill/>
          </a:ln>
        </p:spPr>
      </p:sp>
      <p:grpSp>
        <p:nvGrpSpPr>
          <p:cNvPr id="12151" name="Google Shape;12151;p1142"/>
          <p:cNvGrpSpPr/>
          <p:nvPr/>
        </p:nvGrpSpPr>
        <p:grpSpPr>
          <a:xfrm>
            <a:off x="299577" y="1030077"/>
            <a:ext cx="3998940" cy="641512"/>
            <a:chOff x="0" y="-15790"/>
            <a:chExt cx="1624031" cy="473075"/>
          </a:xfrm>
        </p:grpSpPr>
        <p:sp>
          <p:nvSpPr>
            <p:cNvPr id="12152" name="Google Shape;12152;p1142"/>
            <p:cNvSpPr/>
            <p:nvPr/>
          </p:nvSpPr>
          <p:spPr>
            <a:xfrm>
              <a:off x="0" y="0"/>
              <a:ext cx="1624031" cy="406400"/>
            </a:xfrm>
            <a:custGeom>
              <a:avLst/>
              <a:gdLst/>
              <a:ahLst/>
              <a:cxnLst/>
              <a:rect l="l" t="t" r="r" b="b"/>
              <a:pathLst>
                <a:path w="1624031" h="406400" extrusionOk="0">
                  <a:moveTo>
                    <a:pt x="1420831" y="0"/>
                  </a:moveTo>
                  <a:cubicBezTo>
                    <a:pt x="1533055" y="0"/>
                    <a:pt x="1624031" y="90976"/>
                    <a:pt x="1624031" y="203200"/>
                  </a:cubicBezTo>
                  <a:cubicBezTo>
                    <a:pt x="1624031" y="315424"/>
                    <a:pt x="1533055" y="406400"/>
                    <a:pt x="1420831" y="406400"/>
                  </a:cubicBezTo>
                  <a:lnTo>
                    <a:pt x="203200" y="406400"/>
                  </a:lnTo>
                  <a:cubicBezTo>
                    <a:pt x="90976" y="406400"/>
                    <a:pt x="0" y="315424"/>
                    <a:pt x="0" y="203200"/>
                  </a:cubicBezTo>
                  <a:cubicBezTo>
                    <a:pt x="0" y="90976"/>
                    <a:pt x="90976" y="0"/>
                    <a:pt x="203200" y="0"/>
                  </a:cubicBezTo>
                  <a:close/>
                </a:path>
              </a:pathLst>
            </a:custGeom>
            <a:solidFill>
              <a:srgbClr val="13257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53" name="Google Shape;12153;p1142"/>
            <p:cNvSpPr txBox="1"/>
            <p:nvPr/>
          </p:nvSpPr>
          <p:spPr>
            <a:xfrm>
              <a:off x="38264" y="-15790"/>
              <a:ext cx="1525559" cy="4730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3850" tIns="33850" rIns="33850" bIns="33850" anchor="ctr" anchorCtr="0">
              <a:noAutofit/>
            </a:bodyPr>
            <a:lstStyle/>
            <a:p>
              <a:pPr marL="0" marR="0" lvl="0" indent="0" algn="ctr" rtl="0">
                <a:lnSpc>
                  <a:spcPct val="133285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950" b="1" i="0" u="none" strike="noStrike" cap="none">
                  <a:solidFill>
                    <a:srgbClr val="FFFFFF"/>
                  </a:solidFill>
                  <a:latin typeface="Barlow"/>
                  <a:ea typeface="Barlow"/>
                  <a:cs typeface="Barlow"/>
                  <a:sym typeface="Barlow"/>
                </a:rPr>
                <a:t>BE Launch: </a:t>
              </a:r>
              <a:r>
                <a:rPr lang="en-US" sz="2100" b="1" i="0" u="none" strike="noStrike" cap="none">
                  <a:solidFill>
                    <a:srgbClr val="FFFFFF"/>
                  </a:solidFill>
                  <a:latin typeface="Barlow"/>
                  <a:ea typeface="Barlow"/>
                  <a:cs typeface="Barlow"/>
                  <a:sym typeface="Barlow"/>
                </a:rPr>
                <a:t>June 2021</a:t>
              </a:r>
              <a:endParaRPr/>
            </a:p>
          </p:txBody>
        </p:sp>
      </p:grpSp>
      <p:sp>
        <p:nvSpPr>
          <p:cNvPr id="12154" name="Google Shape;12154;p1142"/>
          <p:cNvSpPr txBox="1"/>
          <p:nvPr/>
        </p:nvSpPr>
        <p:spPr>
          <a:xfrm>
            <a:off x="688419" y="4539254"/>
            <a:ext cx="2093537" cy="337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BE Teams</a:t>
            </a:r>
            <a:endParaRPr/>
          </a:p>
        </p:txBody>
      </p:sp>
      <p:sp>
        <p:nvSpPr>
          <p:cNvPr id="12155" name="Google Shape;12155;p1142"/>
          <p:cNvSpPr txBox="1"/>
          <p:nvPr/>
        </p:nvSpPr>
        <p:spPr>
          <a:xfrm>
            <a:off x="685801" y="5229651"/>
            <a:ext cx="2093537" cy="889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Actively engaged with the Birth Equity initiative </a:t>
            </a:r>
            <a:endParaRPr/>
          </a:p>
        </p:txBody>
      </p:sp>
      <p:sp>
        <p:nvSpPr>
          <p:cNvPr id="12156" name="Google Shape;12156;p1142"/>
          <p:cNvSpPr txBox="1"/>
          <p:nvPr/>
        </p:nvSpPr>
        <p:spPr>
          <a:xfrm>
            <a:off x="3701316" y="3905390"/>
            <a:ext cx="2093537" cy="325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998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33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Monthly Webinars</a:t>
            </a:r>
            <a:endParaRPr/>
          </a:p>
        </p:txBody>
      </p:sp>
      <p:sp>
        <p:nvSpPr>
          <p:cNvPr id="12157" name="Google Shape;12157;p1142"/>
          <p:cNvSpPr txBox="1"/>
          <p:nvPr/>
        </p:nvSpPr>
        <p:spPr>
          <a:xfrm>
            <a:off x="3391287" y="4424351"/>
            <a:ext cx="2501245" cy="18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Since initiative launch featuring data sharing, teams sharing, expert speakers, and discussions on how to move initiative strategies in place</a:t>
            </a:r>
            <a:endParaRPr sz="1733" b="0" i="0" u="none" strike="noStrike" cap="none">
              <a:solidFill>
                <a:srgbClr val="63696F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12158" name="Google Shape;12158;p1142"/>
          <p:cNvSpPr txBox="1"/>
          <p:nvPr/>
        </p:nvSpPr>
        <p:spPr>
          <a:xfrm>
            <a:off x="9429854" y="3898976"/>
            <a:ext cx="2093537" cy="337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Team Talk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9" name="Google Shape;12159;p1142"/>
          <p:cNvSpPr txBox="1"/>
          <p:nvPr/>
        </p:nvSpPr>
        <p:spPr>
          <a:xfrm>
            <a:off x="9349381" y="4489665"/>
            <a:ext cx="2409987" cy="11977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27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with teams sharing on monthly BE calls, QI topic calls, and in-person conferences</a:t>
            </a:r>
            <a:endParaRPr/>
          </a:p>
        </p:txBody>
      </p:sp>
      <p:sp>
        <p:nvSpPr>
          <p:cNvPr id="12160" name="Google Shape;12160;p1142"/>
          <p:cNvSpPr txBox="1"/>
          <p:nvPr/>
        </p:nvSpPr>
        <p:spPr>
          <a:xfrm>
            <a:off x="6502700" y="4358440"/>
            <a:ext cx="2209774" cy="707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353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950" b="1" i="0" u="none" strike="noStrike" cap="none">
                <a:solidFill>
                  <a:srgbClr val="000000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QI Summer Series Topic Calls</a:t>
            </a:r>
            <a:endParaRPr/>
          </a:p>
        </p:txBody>
      </p:sp>
      <p:sp>
        <p:nvSpPr>
          <p:cNvPr id="12161" name="Google Shape;12161;p1142"/>
          <p:cNvSpPr txBox="1"/>
          <p:nvPr/>
        </p:nvSpPr>
        <p:spPr>
          <a:xfrm>
            <a:off x="6429213" y="5332972"/>
            <a:ext cx="2409987" cy="905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04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33" b="0" i="0" u="none" strike="noStrike" cap="none">
                <a:solidFill>
                  <a:srgbClr val="63696F"/>
                </a:solidFill>
                <a:latin typeface="Barlow Medium"/>
                <a:ea typeface="Barlow Medium"/>
                <a:cs typeface="Barlow Medium"/>
                <a:sym typeface="Barlow Medium"/>
              </a:rPr>
              <a:t>Partnering with Everthrive IL, open discussion and sharing between teams</a:t>
            </a:r>
            <a:endParaRPr/>
          </a:p>
        </p:txBody>
      </p:sp>
      <p:sp>
        <p:nvSpPr>
          <p:cNvPr id="12162" name="Google Shape;12162;p1142"/>
          <p:cNvSpPr txBox="1"/>
          <p:nvPr/>
        </p:nvSpPr>
        <p:spPr>
          <a:xfrm>
            <a:off x="1318351" y="2813956"/>
            <a:ext cx="828437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75</a:t>
            </a:r>
            <a:endParaRPr/>
          </a:p>
        </p:txBody>
      </p:sp>
      <p:sp>
        <p:nvSpPr>
          <p:cNvPr id="12163" name="Google Shape;12163;p1142"/>
          <p:cNvSpPr txBox="1"/>
          <p:nvPr/>
        </p:nvSpPr>
        <p:spPr>
          <a:xfrm>
            <a:off x="7292249" y="2769228"/>
            <a:ext cx="652383" cy="1034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40786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6134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64" name="Google Shape;12164;p1142"/>
          <p:cNvSpPr txBox="1"/>
          <p:nvPr/>
        </p:nvSpPr>
        <p:spPr>
          <a:xfrm>
            <a:off x="4227305" y="2046024"/>
            <a:ext cx="828437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1</a:t>
            </a:r>
            <a:endParaRPr/>
          </a:p>
        </p:txBody>
      </p:sp>
      <p:sp>
        <p:nvSpPr>
          <p:cNvPr id="12165" name="Google Shape;12165;p1142"/>
          <p:cNvSpPr txBox="1"/>
          <p:nvPr/>
        </p:nvSpPr>
        <p:spPr>
          <a:xfrm>
            <a:off x="9995050" y="1981495"/>
            <a:ext cx="928767" cy="1009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59037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6</a:t>
            </a:r>
            <a:endParaRPr/>
          </a:p>
        </p:txBody>
      </p:sp>
      <p:sp>
        <p:nvSpPr>
          <p:cNvPr id="12166" name="Google Shape;12166;p1142"/>
          <p:cNvSpPr txBox="1"/>
          <p:nvPr/>
        </p:nvSpPr>
        <p:spPr>
          <a:xfrm>
            <a:off x="303590" y="2865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</a:pPr>
            <a:r>
              <a:rPr lang="en-US" sz="36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BE by the Numbers</a:t>
            </a:r>
            <a:endParaRPr sz="36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CM">
  <a:themeElements>
    <a:clrScheme name="UCM">
      <a:dk1>
        <a:srgbClr val="000000"/>
      </a:dk1>
      <a:lt1>
        <a:srgbClr val="FFFFFF"/>
      </a:lt1>
      <a:dk2>
        <a:srgbClr val="767676"/>
      </a:dk2>
      <a:lt2>
        <a:srgbClr val="D6D6CE"/>
      </a:lt2>
      <a:accent1>
        <a:srgbClr val="800000"/>
      </a:accent1>
      <a:accent2>
        <a:srgbClr val="767676"/>
      </a:accent2>
      <a:accent3>
        <a:srgbClr val="F8A328"/>
      </a:accent3>
      <a:accent4>
        <a:srgbClr val="585900"/>
      </a:accent4>
      <a:accent5>
        <a:srgbClr val="155F83"/>
      </a:accent5>
      <a:accent6>
        <a:srgbClr val="340E20"/>
      </a:accent6>
      <a:hlink>
        <a:srgbClr val="155F83"/>
      </a:hlink>
      <a:folHlink>
        <a:srgbClr val="155F8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2946</Words>
  <Application>Microsoft Office PowerPoint</Application>
  <PresentationFormat>Widescreen</PresentationFormat>
  <Paragraphs>478</Paragraphs>
  <Slides>69</Slides>
  <Notes>66</Notes>
  <HiddenSlides>0</HiddenSlides>
  <MMClips>0</MMClip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69</vt:i4>
      </vt:variant>
    </vt:vector>
  </HeadingPairs>
  <TitlesOfParts>
    <vt:vector size="76" baseType="lpstr">
      <vt:lpstr>3_Office Theme</vt:lpstr>
      <vt:lpstr>6_Office Theme</vt:lpstr>
      <vt:lpstr>1_Office Theme</vt:lpstr>
      <vt:lpstr>UCM</vt:lpstr>
      <vt:lpstr>3_Office Theme</vt:lpstr>
      <vt:lpstr>Simple Light</vt:lpstr>
      <vt:lpstr>4_Office Theme</vt:lpstr>
      <vt:lpstr>BE Teams Call – Sustainable Equity Strategies to Promote Postpartum Safety</vt:lpstr>
      <vt:lpstr>Call Overview</vt:lpstr>
      <vt:lpstr>Annual Conference 2023</vt:lpstr>
      <vt:lpstr>PowerPoint Presentation</vt:lpstr>
      <vt:lpstr>PowerPoint Presentation</vt:lpstr>
      <vt:lpstr>Slides Available on ILPQC Website! https://ilpqc.org/2023-annual-conference/ </vt:lpstr>
      <vt:lpstr>Birth Equity Data Review</vt:lpstr>
      <vt:lpstr>PowerPoint Presentation</vt:lpstr>
      <vt:lpstr>PowerPoint Presentation</vt:lpstr>
      <vt:lpstr>ILPQC Hospital Team Data Submission </vt:lpstr>
      <vt:lpstr>PowerPoint Presentation</vt:lpstr>
      <vt:lpstr>Provider, Nurse, and Staff Education </vt:lpstr>
      <vt:lpstr>PREM Survey Completion</vt:lpstr>
      <vt:lpstr>Advancing Patient &amp; Community Engagement</vt:lpstr>
      <vt:lpstr>Postpartum Safety Data &amp; Toolkit Review</vt:lpstr>
      <vt:lpstr>2023 IL Maternal Morbidity and Mortality Report (data from 2018-2020)</vt:lpstr>
      <vt:lpstr>Postpartum Safety Education</vt:lpstr>
      <vt:lpstr>Process Flow  for Scheduling  Early Postpartum Visit</vt:lpstr>
      <vt:lpstr>What is the role of the  OB provider for postpartum safety?</vt:lpstr>
      <vt:lpstr>What is the role of the OB Nurse for postpartum safety?</vt:lpstr>
      <vt:lpstr>PowerPoint Presentation</vt:lpstr>
      <vt:lpstr>I-PROMOTE IL Postpartum Medicaid Expansion Flyers</vt:lpstr>
      <vt:lpstr>ACOG Committee Opinion</vt:lpstr>
      <vt:lpstr>AIM Patient Safety Bundle</vt:lpstr>
      <vt:lpstr>ILPQC Resources Early PP Visit Maternal Health Safety Checklist &amp; Patient Resource</vt:lpstr>
      <vt:lpstr>AWHONN Post-Birth Warning Signs Campaign</vt:lpstr>
      <vt:lpstr>CDC Hear Her Campaign</vt:lpstr>
      <vt:lpstr>STAMPP-HTN Presentation</vt:lpstr>
      <vt:lpstr>STAMPP-HTN Systematic Treatment And Management of Postpartum Hypertension</vt:lpstr>
      <vt:lpstr>PowerPoint Presentation</vt:lpstr>
      <vt:lpstr>PowerPoint Presentation</vt:lpstr>
      <vt:lpstr>PowerPoint Presentation</vt:lpstr>
      <vt:lpstr>Problems at the level of the hospital</vt:lpstr>
      <vt:lpstr>STAMPP HTN team</vt:lpstr>
      <vt:lpstr>Commitment to quality improvement  STAMPP HTN</vt:lpstr>
      <vt:lpstr>STAMPP-HTN Clinician Buy-In and Procedures</vt:lpstr>
      <vt:lpstr>PowerPoint Presentation</vt:lpstr>
      <vt:lpstr>Education to patients</vt:lpstr>
      <vt:lpstr>PowerPoint Presentation</vt:lpstr>
      <vt:lpstr>STAMPP HTN bundle led to a significant reduction of PP BP’s and improved PP follow-up  </vt:lpstr>
      <vt:lpstr>Patient Demographics</vt:lpstr>
      <vt:lpstr>Decrease in Postpartum Blood Pressure</vt:lpstr>
      <vt:lpstr>PowerPoint Presentation</vt:lpstr>
      <vt:lpstr>PowerPoint Presentation</vt:lpstr>
      <vt:lpstr>PowerPoint Presentation</vt:lpstr>
      <vt:lpstr>STAMPP-HTN: Deploying Remote Patient Monitoring</vt:lpstr>
      <vt:lpstr>PowerPoint Presentation</vt:lpstr>
      <vt:lpstr>PowerPoint Presentation</vt:lpstr>
      <vt:lpstr>PowerPoint Presentation</vt:lpstr>
      <vt:lpstr>PowerPoint Presentation</vt:lpstr>
      <vt:lpstr>Award and Accolades</vt:lpstr>
      <vt:lpstr>RPM Expansion beyond UCM in collaboration with HRS</vt:lpstr>
      <vt:lpstr>The future vision for STAMPP-RPM</vt:lpstr>
      <vt:lpstr>PowerPoint Presentation</vt:lpstr>
      <vt:lpstr>PowerPoint Presentation</vt:lpstr>
      <vt:lpstr>PowerPoint Presentation</vt:lpstr>
      <vt:lpstr>Q&amp;A and Zoom Poll</vt:lpstr>
      <vt:lpstr>Additional Resources / Announcements</vt:lpstr>
      <vt:lpstr>PQI SPEAK UP Champion Training Announcement – April 12th &amp; 19th 2024!  ILPQC sponsored FREE 2-day training</vt:lpstr>
      <vt:lpstr>Looking towards 2024</vt:lpstr>
      <vt:lpstr>PowerPoint Presentation</vt:lpstr>
      <vt:lpstr>Birth Equity 2024</vt:lpstr>
      <vt:lpstr>Upcoming BE Calls</vt:lpstr>
      <vt:lpstr>PowerPoint Presentation</vt:lpstr>
      <vt:lpstr>APPENDIX STAMMP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Teams Call – Sustainable Equity Strategies to Promote Postpartum Safety</dc:title>
  <dc:creator>Aleena Lida Surenian</dc:creator>
  <cp:lastModifiedBy>Ann</cp:lastModifiedBy>
  <cp:revision>40</cp:revision>
  <dcterms:created xsi:type="dcterms:W3CDTF">2023-02-21T14:56:45Z</dcterms:created>
  <dcterms:modified xsi:type="dcterms:W3CDTF">2023-12-12T15:0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4A7A73C8F0B488F2B94D68313F34F</vt:lpwstr>
  </property>
  <property fmtid="{D5CDD505-2E9C-101B-9397-08002B2CF9AE}" pid="3" name="MediaServiceImageTags">
    <vt:lpwstr/>
  </property>
</Properties>
</file>